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1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9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2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3.xml" ContentType="application/vnd.openxmlformats-officedocument.theme+xml"/>
  <Override PartName="/ppt/tags/tag104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4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5.xml" ContentType="application/vnd.openxmlformats-officedocument.theme+xml"/>
  <Override PartName="/ppt/tags/tag107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6.xml" ContentType="application/vnd.openxmlformats-officedocument.them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heme/theme17.xml" ContentType="application/vnd.openxmlformats-officedocument.theme+xml"/>
  <Override PartName="/ppt/tags/tag252.xml" ContentType="application/vnd.openxmlformats-officedocument.presentationml.tags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4709" r:id="rId5"/>
    <p:sldMasterId id="2147488207" r:id="rId6"/>
    <p:sldMasterId id="2147489050" r:id="rId7"/>
    <p:sldMasterId id="2147489146" r:id="rId8"/>
    <p:sldMasterId id="2147489260" r:id="rId9"/>
    <p:sldMasterId id="2147489266" r:id="rId10"/>
    <p:sldMasterId id="2147489300" r:id="rId11"/>
    <p:sldMasterId id="2147489304" r:id="rId12"/>
    <p:sldMasterId id="2147489329" r:id="rId13"/>
    <p:sldMasterId id="2147489345" r:id="rId14"/>
    <p:sldMasterId id="2147489471" r:id="rId15"/>
    <p:sldMasterId id="2147489483" r:id="rId16"/>
    <p:sldMasterId id="2147489512" r:id="rId17"/>
    <p:sldMasterId id="2147489516" r:id="rId18"/>
    <p:sldMasterId id="2147489553" r:id="rId19"/>
  </p:sldMasterIdLst>
  <p:notesMasterIdLst>
    <p:notesMasterId r:id="rId36"/>
  </p:notesMasterIdLst>
  <p:handoutMasterIdLst>
    <p:handoutMasterId r:id="rId37"/>
  </p:handoutMasterIdLst>
  <p:sldIdLst>
    <p:sldId id="2147376277" r:id="rId20"/>
    <p:sldId id="2076137044" r:id="rId21"/>
    <p:sldId id="278" r:id="rId22"/>
    <p:sldId id="2147376290" r:id="rId23"/>
    <p:sldId id="2147376281" r:id="rId24"/>
    <p:sldId id="2147376280" r:id="rId25"/>
    <p:sldId id="2147376291" r:id="rId26"/>
    <p:sldId id="2147376285" r:id="rId27"/>
    <p:sldId id="2147376283" r:id="rId28"/>
    <p:sldId id="2147376287" r:id="rId29"/>
    <p:sldId id="2076137265" r:id="rId30"/>
    <p:sldId id="2845" r:id="rId31"/>
    <p:sldId id="2855" r:id="rId32"/>
    <p:sldId id="2847" r:id="rId33"/>
    <p:sldId id="2849" r:id="rId34"/>
    <p:sldId id="2852" r:id="rId35"/>
  </p:sldIdLst>
  <p:sldSz cx="12192000" cy="6858000"/>
  <p:notesSz cx="6794500" cy="9906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19B33092-D62D-4365-8559-0863F53BF222}">
          <p14:sldIdLst>
            <p14:sldId id="2147376277"/>
            <p14:sldId id="2076137044"/>
            <p14:sldId id="278"/>
            <p14:sldId id="2147376290"/>
            <p14:sldId id="2147376281"/>
            <p14:sldId id="2147376280"/>
            <p14:sldId id="2147376291"/>
            <p14:sldId id="2147376285"/>
            <p14:sldId id="2147376283"/>
            <p14:sldId id="2147376287"/>
            <p14:sldId id="2076137265"/>
            <p14:sldId id="2845"/>
            <p14:sldId id="2855"/>
            <p14:sldId id="2847"/>
            <p14:sldId id="2849"/>
            <p14:sldId id="285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4089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5" pos="71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9" userDrawn="1">
          <p15:clr>
            <a:srgbClr val="A4A3A4"/>
          </p15:clr>
        </p15:guide>
        <p15:guide id="2" pos="21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RIOL Louise" initials="LO" lastIdx="6" clrIdx="0"/>
  <p:cmAuthor id="2" name="Hervé GROS" initials="HG" lastIdx="1" clrIdx="1">
    <p:extLst>
      <p:ext uri="{19B8F6BF-5375-455C-9EA6-DF929625EA0E}">
        <p15:presenceInfo xmlns:p15="http://schemas.microsoft.com/office/powerpoint/2012/main" userId="Hervé GRO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2782"/>
    <a:srgbClr val="24195D"/>
    <a:srgbClr val="FEF3FF"/>
    <a:srgbClr val="EFFEFF"/>
    <a:srgbClr val="D6D2F2"/>
    <a:srgbClr val="7A6ED4"/>
    <a:srgbClr val="CDC8EE"/>
    <a:srgbClr val="B8B2E8"/>
    <a:srgbClr val="3B4A1E"/>
    <a:srgbClr val="E533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82" autoAdjust="0"/>
    <p:restoredTop sz="90710" autoAdjust="0"/>
  </p:normalViewPr>
  <p:slideViewPr>
    <p:cSldViewPr snapToGrid="0">
      <p:cViewPr varScale="1">
        <p:scale>
          <a:sx n="103" d="100"/>
          <a:sy n="103" d="100"/>
        </p:scale>
        <p:origin x="800" y="184"/>
      </p:cViewPr>
      <p:guideLst>
        <p:guide orient="horz" pos="2069"/>
        <p:guide pos="4089"/>
        <p:guide pos="529"/>
        <p:guide pos="7151"/>
        <p:guide pos="71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19"/>
        <p:guide pos="21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presProps" Target="presProps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DA3747-B70D-44EA-910E-8250966CDDB6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1CF01BB7-5A24-4BC4-A3D6-4C599646F0B1}">
      <dgm:prSet phldrT="[Texte]" custT="1"/>
      <dgm:spPr/>
      <dgm:t>
        <a:bodyPr/>
        <a:lstStyle/>
        <a:p>
          <a:pPr>
            <a:buClrTx/>
            <a:buSzTx/>
            <a:buFontTx/>
            <a:buNone/>
          </a:pPr>
          <a:r>
            <a:rPr lang="fr-FR" sz="1800" b="1" kern="1200" dirty="0"/>
            <a:t>Orientations</a:t>
          </a:r>
          <a:endParaRPr lang="fr-FR" sz="1800" b="1" kern="1200" dirty="0">
            <a:solidFill>
              <a:srgbClr val="FFFFFF"/>
            </a:solidFill>
            <a:latin typeface="+mn-lt"/>
            <a:ea typeface="+mn-ea"/>
            <a:cs typeface="+mn-cs"/>
          </a:endParaRPr>
        </a:p>
      </dgm:t>
    </dgm:pt>
    <dgm:pt modelId="{2B3C1B1E-9B8D-45BE-A0BE-747E588D5A79}" type="parTrans" cxnId="{F0044648-2764-4085-A45D-8A81B339D71D}">
      <dgm:prSet/>
      <dgm:spPr/>
      <dgm:t>
        <a:bodyPr/>
        <a:lstStyle/>
        <a:p>
          <a:endParaRPr lang="fr-FR"/>
        </a:p>
      </dgm:t>
    </dgm:pt>
    <dgm:pt modelId="{C206AB34-828E-4E7C-847B-9E74DD8D1822}" type="sibTrans" cxnId="{F0044648-2764-4085-A45D-8A81B339D71D}">
      <dgm:prSet/>
      <dgm:spPr/>
      <dgm:t>
        <a:bodyPr/>
        <a:lstStyle/>
        <a:p>
          <a:endParaRPr lang="fr-FR"/>
        </a:p>
      </dgm:t>
    </dgm:pt>
    <dgm:pt modelId="{A18D9622-AFDB-41A7-BDC4-DBEC2022F664}">
      <dgm:prSet custT="1"/>
      <dgm:spPr/>
      <dgm:t>
        <a:bodyPr/>
        <a:lstStyle/>
        <a:p>
          <a:pPr>
            <a:buClrTx/>
            <a:buSzTx/>
            <a:buFontTx/>
            <a:buNone/>
          </a:pPr>
          <a:r>
            <a:rPr lang="fr-FR" sz="1800" b="1" dirty="0"/>
            <a:t>Jalons</a:t>
          </a:r>
        </a:p>
      </dgm:t>
    </dgm:pt>
    <dgm:pt modelId="{8AD8A91A-3F35-4866-80F1-DF36088F66BA}" type="sibTrans" cxnId="{373A94A4-A50C-4EB7-B6F6-DDBB194EC76B}">
      <dgm:prSet/>
      <dgm:spPr/>
      <dgm:t>
        <a:bodyPr/>
        <a:lstStyle/>
        <a:p>
          <a:endParaRPr lang="fr-FR"/>
        </a:p>
      </dgm:t>
    </dgm:pt>
    <dgm:pt modelId="{C664A7AA-A7DE-4683-806D-9756EA162A28}" type="parTrans" cxnId="{373A94A4-A50C-4EB7-B6F6-DDBB194EC76B}">
      <dgm:prSet/>
      <dgm:spPr/>
      <dgm:t>
        <a:bodyPr/>
        <a:lstStyle/>
        <a:p>
          <a:endParaRPr lang="fr-FR"/>
        </a:p>
      </dgm:t>
    </dgm:pt>
    <dgm:pt modelId="{DB1DC930-BB84-4CA9-8FEE-D6225F674081}">
      <dgm:prSet custT="1"/>
      <dgm:spPr/>
      <dgm:t>
        <a:bodyPr/>
        <a:lstStyle/>
        <a:p>
          <a:pPr>
            <a:buClrTx/>
            <a:buSzTx/>
            <a:buFontTx/>
            <a:buNone/>
          </a:pPr>
          <a:r>
            <a:rPr lang="fr-FR" sz="1600" b="1" dirty="0"/>
            <a:t>Moyens</a:t>
          </a:r>
        </a:p>
      </dgm:t>
    </dgm:pt>
    <dgm:pt modelId="{60943027-87BE-48D3-AA31-12D2DCFA54FF}" type="sibTrans" cxnId="{95CACF12-6B0E-4192-8B34-7D54DE012FD9}">
      <dgm:prSet/>
      <dgm:spPr/>
      <dgm:t>
        <a:bodyPr/>
        <a:lstStyle/>
        <a:p>
          <a:endParaRPr lang="fr-FR"/>
        </a:p>
      </dgm:t>
    </dgm:pt>
    <dgm:pt modelId="{C696A1FC-863E-4F35-9F2F-A23402215E29}" type="parTrans" cxnId="{95CACF12-6B0E-4192-8B34-7D54DE012FD9}">
      <dgm:prSet/>
      <dgm:spPr/>
      <dgm:t>
        <a:bodyPr/>
        <a:lstStyle/>
        <a:p>
          <a:endParaRPr lang="fr-FR"/>
        </a:p>
      </dgm:t>
    </dgm:pt>
    <dgm:pt modelId="{A8F0A692-9CED-4BE5-AB09-C38A0BB25786}">
      <dgm:prSet phldrT="[Texte]" custT="1"/>
      <dgm:spPr/>
      <dgm:t>
        <a:bodyPr/>
        <a:lstStyle/>
        <a:p>
          <a:r>
            <a:rPr lang="fr-FR" sz="1800" b="1" dirty="0">
              <a:latin typeface="+mn-lt"/>
            </a:rPr>
            <a:t>Animation</a:t>
          </a:r>
        </a:p>
      </dgm:t>
    </dgm:pt>
    <dgm:pt modelId="{9F76AB21-B453-4765-A1F8-945BB67EC746}" type="parTrans" cxnId="{6A398CA9-4141-4B08-8A6E-4CED5CE36D3F}">
      <dgm:prSet/>
      <dgm:spPr/>
      <dgm:t>
        <a:bodyPr/>
        <a:lstStyle/>
        <a:p>
          <a:endParaRPr lang="fr-FR"/>
        </a:p>
      </dgm:t>
    </dgm:pt>
    <dgm:pt modelId="{2C8C9EA7-9874-46A6-B0DB-39FA044ACB03}" type="sibTrans" cxnId="{6A398CA9-4141-4B08-8A6E-4CED5CE36D3F}">
      <dgm:prSet/>
      <dgm:spPr/>
      <dgm:t>
        <a:bodyPr/>
        <a:lstStyle/>
        <a:p>
          <a:endParaRPr lang="fr-FR"/>
        </a:p>
      </dgm:t>
    </dgm:pt>
    <dgm:pt modelId="{C03E4DB5-A1FE-4E98-A7F4-71513044C30A}">
      <dgm:prSet phldrT="[Texte]" custT="1"/>
      <dgm:spPr/>
      <dgm:t>
        <a:bodyPr/>
        <a:lstStyle/>
        <a:p>
          <a:r>
            <a:rPr lang="fr-FR" sz="1800" b="1" dirty="0">
              <a:latin typeface="+mn-lt"/>
            </a:rPr>
            <a:t>Vision</a:t>
          </a:r>
          <a:endParaRPr lang="fr-FR" sz="1200" b="1" dirty="0">
            <a:latin typeface="+mn-lt"/>
          </a:endParaRPr>
        </a:p>
      </dgm:t>
    </dgm:pt>
    <dgm:pt modelId="{395617E7-C8DA-4BBC-B20C-37B33DEDF391}" type="parTrans" cxnId="{87B2DD6F-7216-4FF9-A96C-FB683756C2EE}">
      <dgm:prSet/>
      <dgm:spPr/>
      <dgm:t>
        <a:bodyPr/>
        <a:lstStyle/>
        <a:p>
          <a:endParaRPr lang="fr-FR"/>
        </a:p>
      </dgm:t>
    </dgm:pt>
    <dgm:pt modelId="{AF2DBE31-D81C-4E24-B820-E1D0FF7078C3}" type="sibTrans" cxnId="{87B2DD6F-7216-4FF9-A96C-FB683756C2EE}">
      <dgm:prSet/>
      <dgm:spPr/>
      <dgm:t>
        <a:bodyPr/>
        <a:lstStyle/>
        <a:p>
          <a:endParaRPr lang="fr-FR"/>
        </a:p>
      </dgm:t>
    </dgm:pt>
    <dgm:pt modelId="{15AF8472-B7C9-4A30-8CE7-45BAAE89EC6C}">
      <dgm:prSet phldrT="[Texte]" custT="1"/>
      <dgm:spPr/>
      <dgm:t>
        <a:bodyPr/>
        <a:lstStyle/>
        <a:p>
          <a:pPr>
            <a:buClrTx/>
            <a:buSzTx/>
            <a:buFontTx/>
            <a:buNone/>
          </a:pPr>
          <a:r>
            <a:rPr lang="fr-FR" sz="18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Principes</a:t>
          </a:r>
        </a:p>
      </dgm:t>
    </dgm:pt>
    <dgm:pt modelId="{791029B4-AEEB-4A70-AD12-F2F150741CF5}" type="parTrans" cxnId="{D2F3A935-66C5-451B-86F3-5318CD6E64EF}">
      <dgm:prSet/>
      <dgm:spPr/>
    </dgm:pt>
    <dgm:pt modelId="{F384F617-71AC-4BF5-B7CC-D8EAD2DD117C}" type="sibTrans" cxnId="{D2F3A935-66C5-451B-86F3-5318CD6E64EF}">
      <dgm:prSet/>
      <dgm:spPr/>
    </dgm:pt>
    <dgm:pt modelId="{21C52FB7-E960-4029-BD06-74501D89B96D}" type="pres">
      <dgm:prSet presAssocID="{27DA3747-B70D-44EA-910E-8250966CDDB6}" presName="cycle" presStyleCnt="0">
        <dgm:presLayoutVars>
          <dgm:dir/>
          <dgm:resizeHandles val="exact"/>
        </dgm:presLayoutVars>
      </dgm:prSet>
      <dgm:spPr/>
    </dgm:pt>
    <dgm:pt modelId="{AC096748-E515-4873-A5E0-FB18DDB695D8}" type="pres">
      <dgm:prSet presAssocID="{15AF8472-B7C9-4A30-8CE7-45BAAE89EC6C}" presName="node" presStyleLbl="node1" presStyleIdx="0" presStyleCnt="6">
        <dgm:presLayoutVars>
          <dgm:bulletEnabled val="1"/>
        </dgm:presLayoutVars>
      </dgm:prSet>
      <dgm:spPr/>
    </dgm:pt>
    <dgm:pt modelId="{A7135B50-BBB0-492A-8172-4285A9BFDFB2}" type="pres">
      <dgm:prSet presAssocID="{15AF8472-B7C9-4A30-8CE7-45BAAE89EC6C}" presName="spNode" presStyleCnt="0"/>
      <dgm:spPr/>
    </dgm:pt>
    <dgm:pt modelId="{72EFBECE-A34B-4089-97E2-15A0934B2576}" type="pres">
      <dgm:prSet presAssocID="{F384F617-71AC-4BF5-B7CC-D8EAD2DD117C}" presName="sibTrans" presStyleLbl="sibTrans1D1" presStyleIdx="0" presStyleCnt="6"/>
      <dgm:spPr/>
    </dgm:pt>
    <dgm:pt modelId="{61A76ACA-E0A1-46E4-AA6C-7506799D5D6A}" type="pres">
      <dgm:prSet presAssocID="{1CF01BB7-5A24-4BC4-A3D6-4C599646F0B1}" presName="node" presStyleLbl="node1" presStyleIdx="1" presStyleCnt="6" custScaleX="156278" custRadScaleRad="98533">
        <dgm:presLayoutVars>
          <dgm:bulletEnabled val="1"/>
        </dgm:presLayoutVars>
      </dgm:prSet>
      <dgm:spPr/>
    </dgm:pt>
    <dgm:pt modelId="{AADAC56C-46AB-4B2E-8C1F-8602E2BB5578}" type="pres">
      <dgm:prSet presAssocID="{1CF01BB7-5A24-4BC4-A3D6-4C599646F0B1}" presName="spNode" presStyleCnt="0"/>
      <dgm:spPr/>
    </dgm:pt>
    <dgm:pt modelId="{A36CA7F6-8A7F-4CFF-95F6-4623BDEF3286}" type="pres">
      <dgm:prSet presAssocID="{C206AB34-828E-4E7C-847B-9E74DD8D1822}" presName="sibTrans" presStyleLbl="sibTrans1D1" presStyleIdx="1" presStyleCnt="6"/>
      <dgm:spPr/>
    </dgm:pt>
    <dgm:pt modelId="{BD634D48-933F-426E-A1D2-B5B874398507}" type="pres">
      <dgm:prSet presAssocID="{A18D9622-AFDB-41A7-BDC4-DBEC2022F664}" presName="node" presStyleLbl="node1" presStyleIdx="2" presStyleCnt="6" custRadScaleRad="88794" custRadScaleInc="108175">
        <dgm:presLayoutVars>
          <dgm:bulletEnabled val="1"/>
        </dgm:presLayoutVars>
      </dgm:prSet>
      <dgm:spPr/>
    </dgm:pt>
    <dgm:pt modelId="{5A55FF5D-91D2-495A-9EA1-74A68EB4F5CA}" type="pres">
      <dgm:prSet presAssocID="{A18D9622-AFDB-41A7-BDC4-DBEC2022F664}" presName="spNode" presStyleCnt="0"/>
      <dgm:spPr/>
    </dgm:pt>
    <dgm:pt modelId="{047966F2-2CD4-4FB0-982D-3B03A4267E32}" type="pres">
      <dgm:prSet presAssocID="{8AD8A91A-3F35-4866-80F1-DF36088F66BA}" presName="sibTrans" presStyleLbl="sibTrans1D1" presStyleIdx="2" presStyleCnt="6"/>
      <dgm:spPr/>
    </dgm:pt>
    <dgm:pt modelId="{474164F5-F777-46A3-BE02-441CF6AD3653}" type="pres">
      <dgm:prSet presAssocID="{DB1DC930-BB84-4CA9-8FEE-D6225F674081}" presName="node" presStyleLbl="node1" presStyleIdx="3" presStyleCnt="6" custRadScaleRad="105180" custRadScaleInc="64332">
        <dgm:presLayoutVars>
          <dgm:bulletEnabled val="1"/>
        </dgm:presLayoutVars>
      </dgm:prSet>
      <dgm:spPr/>
    </dgm:pt>
    <dgm:pt modelId="{23897793-3633-4322-B2B0-230591869E5C}" type="pres">
      <dgm:prSet presAssocID="{DB1DC930-BB84-4CA9-8FEE-D6225F674081}" presName="spNode" presStyleCnt="0"/>
      <dgm:spPr/>
    </dgm:pt>
    <dgm:pt modelId="{236FCCD0-D2AB-4194-868A-8F5130B978B0}" type="pres">
      <dgm:prSet presAssocID="{60943027-87BE-48D3-AA31-12D2DCFA54FF}" presName="sibTrans" presStyleLbl="sibTrans1D1" presStyleIdx="3" presStyleCnt="6"/>
      <dgm:spPr/>
    </dgm:pt>
    <dgm:pt modelId="{06BF3689-F1C1-4415-81E0-683CC23B920A}" type="pres">
      <dgm:prSet presAssocID="{A8F0A692-9CED-4BE5-AB09-C38A0BB25786}" presName="node" presStyleLbl="node1" presStyleIdx="4" presStyleCnt="6" custScaleX="150096" custRadScaleRad="86630" custRadScaleInc="93576">
        <dgm:presLayoutVars>
          <dgm:bulletEnabled val="1"/>
        </dgm:presLayoutVars>
      </dgm:prSet>
      <dgm:spPr/>
    </dgm:pt>
    <dgm:pt modelId="{50B90F81-76D9-4040-BD58-986C0A5EAF6D}" type="pres">
      <dgm:prSet presAssocID="{A8F0A692-9CED-4BE5-AB09-C38A0BB25786}" presName="spNode" presStyleCnt="0"/>
      <dgm:spPr/>
    </dgm:pt>
    <dgm:pt modelId="{2D251E64-2161-4BE0-A46B-E127971D95D2}" type="pres">
      <dgm:prSet presAssocID="{2C8C9EA7-9874-46A6-B0DB-39FA044ACB03}" presName="sibTrans" presStyleLbl="sibTrans1D1" presStyleIdx="4" presStyleCnt="6"/>
      <dgm:spPr/>
    </dgm:pt>
    <dgm:pt modelId="{81F2E243-220A-4534-94A7-6F1C2CC0A00A}" type="pres">
      <dgm:prSet presAssocID="{C03E4DB5-A1FE-4E98-A7F4-71513044C30A}" presName="node" presStyleLbl="node1" presStyleIdx="5" presStyleCnt="6">
        <dgm:presLayoutVars>
          <dgm:bulletEnabled val="1"/>
        </dgm:presLayoutVars>
      </dgm:prSet>
      <dgm:spPr/>
    </dgm:pt>
    <dgm:pt modelId="{F2739582-1224-4938-91AC-FA9EE1F8C286}" type="pres">
      <dgm:prSet presAssocID="{C03E4DB5-A1FE-4E98-A7F4-71513044C30A}" presName="spNode" presStyleCnt="0"/>
      <dgm:spPr/>
    </dgm:pt>
    <dgm:pt modelId="{A8CCFB64-7D5A-40A8-8515-7AA1A57C0EC5}" type="pres">
      <dgm:prSet presAssocID="{AF2DBE31-D81C-4E24-B820-E1D0FF7078C3}" presName="sibTrans" presStyleLbl="sibTrans1D1" presStyleIdx="5" presStyleCnt="6"/>
      <dgm:spPr/>
    </dgm:pt>
  </dgm:ptLst>
  <dgm:cxnLst>
    <dgm:cxn modelId="{E38A180B-6F66-4E8D-A7A7-449D3F4CD48E}" type="presOf" srcId="{2C8C9EA7-9874-46A6-B0DB-39FA044ACB03}" destId="{2D251E64-2161-4BE0-A46B-E127971D95D2}" srcOrd="0" destOrd="0" presId="urn:microsoft.com/office/officeart/2005/8/layout/cycle6"/>
    <dgm:cxn modelId="{DB93DD0F-6252-465A-9181-2D50FFBE6657}" type="presOf" srcId="{15AF8472-B7C9-4A30-8CE7-45BAAE89EC6C}" destId="{AC096748-E515-4873-A5E0-FB18DDB695D8}" srcOrd="0" destOrd="0" presId="urn:microsoft.com/office/officeart/2005/8/layout/cycle6"/>
    <dgm:cxn modelId="{95CACF12-6B0E-4192-8B34-7D54DE012FD9}" srcId="{27DA3747-B70D-44EA-910E-8250966CDDB6}" destId="{DB1DC930-BB84-4CA9-8FEE-D6225F674081}" srcOrd="3" destOrd="0" parTransId="{C696A1FC-863E-4F35-9F2F-A23402215E29}" sibTransId="{60943027-87BE-48D3-AA31-12D2DCFA54FF}"/>
    <dgm:cxn modelId="{77542929-CF9C-49D3-B6DA-0D0BE199A131}" type="presOf" srcId="{F384F617-71AC-4BF5-B7CC-D8EAD2DD117C}" destId="{72EFBECE-A34B-4089-97E2-15A0934B2576}" srcOrd="0" destOrd="0" presId="urn:microsoft.com/office/officeart/2005/8/layout/cycle6"/>
    <dgm:cxn modelId="{D2F3A935-66C5-451B-86F3-5318CD6E64EF}" srcId="{27DA3747-B70D-44EA-910E-8250966CDDB6}" destId="{15AF8472-B7C9-4A30-8CE7-45BAAE89EC6C}" srcOrd="0" destOrd="0" parTransId="{791029B4-AEEB-4A70-AD12-F2F150741CF5}" sibTransId="{F384F617-71AC-4BF5-B7CC-D8EAD2DD117C}"/>
    <dgm:cxn modelId="{737A6238-FCF9-43AE-8497-22909A7B72C6}" type="presOf" srcId="{1CF01BB7-5A24-4BC4-A3D6-4C599646F0B1}" destId="{61A76ACA-E0A1-46E4-AA6C-7506799D5D6A}" srcOrd="0" destOrd="0" presId="urn:microsoft.com/office/officeart/2005/8/layout/cycle6"/>
    <dgm:cxn modelId="{0313463D-19E2-4162-9E93-05873C030029}" type="presOf" srcId="{C206AB34-828E-4E7C-847B-9E74DD8D1822}" destId="{A36CA7F6-8A7F-4CFF-95F6-4623BDEF3286}" srcOrd="0" destOrd="0" presId="urn:microsoft.com/office/officeart/2005/8/layout/cycle6"/>
    <dgm:cxn modelId="{F0044648-2764-4085-A45D-8A81B339D71D}" srcId="{27DA3747-B70D-44EA-910E-8250966CDDB6}" destId="{1CF01BB7-5A24-4BC4-A3D6-4C599646F0B1}" srcOrd="1" destOrd="0" parTransId="{2B3C1B1E-9B8D-45BE-A0BE-747E588D5A79}" sibTransId="{C206AB34-828E-4E7C-847B-9E74DD8D1822}"/>
    <dgm:cxn modelId="{7333435F-47A6-490A-B295-5D658CC420FF}" type="presOf" srcId="{A8F0A692-9CED-4BE5-AB09-C38A0BB25786}" destId="{06BF3689-F1C1-4415-81E0-683CC23B920A}" srcOrd="0" destOrd="0" presId="urn:microsoft.com/office/officeart/2005/8/layout/cycle6"/>
    <dgm:cxn modelId="{263A2A61-6768-47BD-8F76-8877EA60BE35}" type="presOf" srcId="{8AD8A91A-3F35-4866-80F1-DF36088F66BA}" destId="{047966F2-2CD4-4FB0-982D-3B03A4267E32}" srcOrd="0" destOrd="0" presId="urn:microsoft.com/office/officeart/2005/8/layout/cycle6"/>
    <dgm:cxn modelId="{87B2DD6F-7216-4FF9-A96C-FB683756C2EE}" srcId="{27DA3747-B70D-44EA-910E-8250966CDDB6}" destId="{C03E4DB5-A1FE-4E98-A7F4-71513044C30A}" srcOrd="5" destOrd="0" parTransId="{395617E7-C8DA-4BBC-B20C-37B33DEDF391}" sibTransId="{AF2DBE31-D81C-4E24-B820-E1D0FF7078C3}"/>
    <dgm:cxn modelId="{F6F3B18B-7CE5-4FA3-B1BE-7960CA54F4BF}" type="presOf" srcId="{60943027-87BE-48D3-AA31-12D2DCFA54FF}" destId="{236FCCD0-D2AB-4194-868A-8F5130B978B0}" srcOrd="0" destOrd="0" presId="urn:microsoft.com/office/officeart/2005/8/layout/cycle6"/>
    <dgm:cxn modelId="{A1F6EB95-E88F-472A-8723-E241C1225693}" type="presOf" srcId="{27DA3747-B70D-44EA-910E-8250966CDDB6}" destId="{21C52FB7-E960-4029-BD06-74501D89B96D}" srcOrd="0" destOrd="0" presId="urn:microsoft.com/office/officeart/2005/8/layout/cycle6"/>
    <dgm:cxn modelId="{373A94A4-A50C-4EB7-B6F6-DDBB194EC76B}" srcId="{27DA3747-B70D-44EA-910E-8250966CDDB6}" destId="{A18D9622-AFDB-41A7-BDC4-DBEC2022F664}" srcOrd="2" destOrd="0" parTransId="{C664A7AA-A7DE-4683-806D-9756EA162A28}" sibTransId="{8AD8A91A-3F35-4866-80F1-DF36088F66BA}"/>
    <dgm:cxn modelId="{6A398CA9-4141-4B08-8A6E-4CED5CE36D3F}" srcId="{27DA3747-B70D-44EA-910E-8250966CDDB6}" destId="{A8F0A692-9CED-4BE5-AB09-C38A0BB25786}" srcOrd="4" destOrd="0" parTransId="{9F76AB21-B453-4765-A1F8-945BB67EC746}" sibTransId="{2C8C9EA7-9874-46A6-B0DB-39FA044ACB03}"/>
    <dgm:cxn modelId="{86C0AFAB-626A-42FF-AF9E-B063A7AA89D7}" type="presOf" srcId="{A18D9622-AFDB-41A7-BDC4-DBEC2022F664}" destId="{BD634D48-933F-426E-A1D2-B5B874398507}" srcOrd="0" destOrd="0" presId="urn:microsoft.com/office/officeart/2005/8/layout/cycle6"/>
    <dgm:cxn modelId="{DB5EE0CE-A3A9-40CD-8D5A-FECA804B203A}" type="presOf" srcId="{C03E4DB5-A1FE-4E98-A7F4-71513044C30A}" destId="{81F2E243-220A-4534-94A7-6F1C2CC0A00A}" srcOrd="0" destOrd="0" presId="urn:microsoft.com/office/officeart/2005/8/layout/cycle6"/>
    <dgm:cxn modelId="{B0C40CD3-546A-43FE-B44E-94B69298BDA8}" type="presOf" srcId="{DB1DC930-BB84-4CA9-8FEE-D6225F674081}" destId="{474164F5-F777-46A3-BE02-441CF6AD3653}" srcOrd="0" destOrd="0" presId="urn:microsoft.com/office/officeart/2005/8/layout/cycle6"/>
    <dgm:cxn modelId="{8D1CE7E3-319E-4257-854C-7A20661E2243}" type="presOf" srcId="{AF2DBE31-D81C-4E24-B820-E1D0FF7078C3}" destId="{A8CCFB64-7D5A-40A8-8515-7AA1A57C0EC5}" srcOrd="0" destOrd="0" presId="urn:microsoft.com/office/officeart/2005/8/layout/cycle6"/>
    <dgm:cxn modelId="{8F1A1F47-C710-4B42-A60C-2EBAF8F147EA}" type="presParOf" srcId="{21C52FB7-E960-4029-BD06-74501D89B96D}" destId="{AC096748-E515-4873-A5E0-FB18DDB695D8}" srcOrd="0" destOrd="0" presId="urn:microsoft.com/office/officeart/2005/8/layout/cycle6"/>
    <dgm:cxn modelId="{9C3F5677-836D-4132-8612-043302D5A1A1}" type="presParOf" srcId="{21C52FB7-E960-4029-BD06-74501D89B96D}" destId="{A7135B50-BBB0-492A-8172-4285A9BFDFB2}" srcOrd="1" destOrd="0" presId="urn:microsoft.com/office/officeart/2005/8/layout/cycle6"/>
    <dgm:cxn modelId="{79A76A34-BE05-4C5F-96E0-BB5F6E02ED28}" type="presParOf" srcId="{21C52FB7-E960-4029-BD06-74501D89B96D}" destId="{72EFBECE-A34B-4089-97E2-15A0934B2576}" srcOrd="2" destOrd="0" presId="urn:microsoft.com/office/officeart/2005/8/layout/cycle6"/>
    <dgm:cxn modelId="{534BD29D-587F-44C4-A064-C8C7603F1331}" type="presParOf" srcId="{21C52FB7-E960-4029-BD06-74501D89B96D}" destId="{61A76ACA-E0A1-46E4-AA6C-7506799D5D6A}" srcOrd="3" destOrd="0" presId="urn:microsoft.com/office/officeart/2005/8/layout/cycle6"/>
    <dgm:cxn modelId="{810570A4-D04B-4570-BAEA-FF42C628E6A0}" type="presParOf" srcId="{21C52FB7-E960-4029-BD06-74501D89B96D}" destId="{AADAC56C-46AB-4B2E-8C1F-8602E2BB5578}" srcOrd="4" destOrd="0" presId="urn:microsoft.com/office/officeart/2005/8/layout/cycle6"/>
    <dgm:cxn modelId="{EF7EE67A-D07F-4EDF-B2DD-A54F2F3A5752}" type="presParOf" srcId="{21C52FB7-E960-4029-BD06-74501D89B96D}" destId="{A36CA7F6-8A7F-4CFF-95F6-4623BDEF3286}" srcOrd="5" destOrd="0" presId="urn:microsoft.com/office/officeart/2005/8/layout/cycle6"/>
    <dgm:cxn modelId="{674FFD8F-395A-440C-AA7D-92DE0D2AB6C1}" type="presParOf" srcId="{21C52FB7-E960-4029-BD06-74501D89B96D}" destId="{BD634D48-933F-426E-A1D2-B5B874398507}" srcOrd="6" destOrd="0" presId="urn:microsoft.com/office/officeart/2005/8/layout/cycle6"/>
    <dgm:cxn modelId="{5419C758-4865-46CA-BD04-BDB0CB041E88}" type="presParOf" srcId="{21C52FB7-E960-4029-BD06-74501D89B96D}" destId="{5A55FF5D-91D2-495A-9EA1-74A68EB4F5CA}" srcOrd="7" destOrd="0" presId="urn:microsoft.com/office/officeart/2005/8/layout/cycle6"/>
    <dgm:cxn modelId="{48D09583-C3CC-4020-B099-1885A6186E8D}" type="presParOf" srcId="{21C52FB7-E960-4029-BD06-74501D89B96D}" destId="{047966F2-2CD4-4FB0-982D-3B03A4267E32}" srcOrd="8" destOrd="0" presId="urn:microsoft.com/office/officeart/2005/8/layout/cycle6"/>
    <dgm:cxn modelId="{A8BF7948-913B-4D1D-8597-40E59245FE8F}" type="presParOf" srcId="{21C52FB7-E960-4029-BD06-74501D89B96D}" destId="{474164F5-F777-46A3-BE02-441CF6AD3653}" srcOrd="9" destOrd="0" presId="urn:microsoft.com/office/officeart/2005/8/layout/cycle6"/>
    <dgm:cxn modelId="{F77904E3-F5A3-485B-BF76-C9A9B133DD60}" type="presParOf" srcId="{21C52FB7-E960-4029-BD06-74501D89B96D}" destId="{23897793-3633-4322-B2B0-230591869E5C}" srcOrd="10" destOrd="0" presId="urn:microsoft.com/office/officeart/2005/8/layout/cycle6"/>
    <dgm:cxn modelId="{B3C31FFD-3D83-46EF-B268-7004772C8128}" type="presParOf" srcId="{21C52FB7-E960-4029-BD06-74501D89B96D}" destId="{236FCCD0-D2AB-4194-868A-8F5130B978B0}" srcOrd="11" destOrd="0" presId="urn:microsoft.com/office/officeart/2005/8/layout/cycle6"/>
    <dgm:cxn modelId="{2425A9D8-F889-46B5-B1AF-9CF3E3C56340}" type="presParOf" srcId="{21C52FB7-E960-4029-BD06-74501D89B96D}" destId="{06BF3689-F1C1-4415-81E0-683CC23B920A}" srcOrd="12" destOrd="0" presId="urn:microsoft.com/office/officeart/2005/8/layout/cycle6"/>
    <dgm:cxn modelId="{C40330A8-5C5A-4BF7-96B3-9067F8839236}" type="presParOf" srcId="{21C52FB7-E960-4029-BD06-74501D89B96D}" destId="{50B90F81-76D9-4040-BD58-986C0A5EAF6D}" srcOrd="13" destOrd="0" presId="urn:microsoft.com/office/officeart/2005/8/layout/cycle6"/>
    <dgm:cxn modelId="{4F4B584C-2FF8-4ED4-98CB-B30708F35726}" type="presParOf" srcId="{21C52FB7-E960-4029-BD06-74501D89B96D}" destId="{2D251E64-2161-4BE0-A46B-E127971D95D2}" srcOrd="14" destOrd="0" presId="urn:microsoft.com/office/officeart/2005/8/layout/cycle6"/>
    <dgm:cxn modelId="{AF8525DD-65C5-44F3-B2D5-6D92FAD6BA74}" type="presParOf" srcId="{21C52FB7-E960-4029-BD06-74501D89B96D}" destId="{81F2E243-220A-4534-94A7-6F1C2CC0A00A}" srcOrd="15" destOrd="0" presId="urn:microsoft.com/office/officeart/2005/8/layout/cycle6"/>
    <dgm:cxn modelId="{29EFE70A-AFD6-4813-854E-F5DA4BDBFB8E}" type="presParOf" srcId="{21C52FB7-E960-4029-BD06-74501D89B96D}" destId="{F2739582-1224-4938-91AC-FA9EE1F8C286}" srcOrd="16" destOrd="0" presId="urn:microsoft.com/office/officeart/2005/8/layout/cycle6"/>
    <dgm:cxn modelId="{C8FBD20C-5D12-4355-B915-0121FA70A361}" type="presParOf" srcId="{21C52FB7-E960-4029-BD06-74501D89B96D}" destId="{A8CCFB64-7D5A-40A8-8515-7AA1A57C0EC5}" srcOrd="17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B57CE9-0E93-47F4-B9E7-03836769FB5F}" type="doc">
      <dgm:prSet loTypeId="urn:microsoft.com/office/officeart/2005/8/layout/hList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AD7121B-52DD-457B-AE8D-817F11024AB6}">
      <dgm:prSet phldrT="[Texte]"/>
      <dgm:spPr/>
      <dgm:t>
        <a:bodyPr/>
        <a:lstStyle/>
        <a:p>
          <a:r>
            <a:rPr lang="fr-FR" dirty="0"/>
            <a:t>Desserte fine de sites privés (entreprise, zone d’activité, campus,…)</a:t>
          </a:r>
        </a:p>
      </dgm:t>
    </dgm:pt>
    <dgm:pt modelId="{D708973B-E1CC-4ACB-B4C4-3B3DA671517C}" type="parTrans" cxnId="{84BACCF8-8CA3-48A0-805B-E9B145CAB510}">
      <dgm:prSet/>
      <dgm:spPr/>
      <dgm:t>
        <a:bodyPr/>
        <a:lstStyle/>
        <a:p>
          <a:endParaRPr lang="fr-FR"/>
        </a:p>
      </dgm:t>
    </dgm:pt>
    <dgm:pt modelId="{231B7215-6213-4DC8-A6FA-6D89FEBD928B}" type="sibTrans" cxnId="{84BACCF8-8CA3-48A0-805B-E9B145CAB510}">
      <dgm:prSet/>
      <dgm:spPr/>
      <dgm:t>
        <a:bodyPr/>
        <a:lstStyle/>
        <a:p>
          <a:endParaRPr lang="fr-FR"/>
        </a:p>
      </dgm:t>
    </dgm:pt>
    <dgm:pt modelId="{468DD21C-62EC-4F3B-9CE7-4D2667B63112}">
      <dgm:prSet phldrT="[Texte]"/>
      <dgm:spPr/>
      <dgm:t>
        <a:bodyPr/>
        <a:lstStyle/>
        <a:p>
          <a:r>
            <a:rPr lang="fr-FR" dirty="0"/>
            <a:t> Véhicule Particulier</a:t>
          </a:r>
        </a:p>
      </dgm:t>
    </dgm:pt>
    <dgm:pt modelId="{F780D5CB-103C-4A3D-BCE3-2405321EF5A5}" type="parTrans" cxnId="{00B5EC4E-6097-4AC7-BEBE-FE2707711677}">
      <dgm:prSet/>
      <dgm:spPr/>
      <dgm:t>
        <a:bodyPr/>
        <a:lstStyle/>
        <a:p>
          <a:endParaRPr lang="fr-FR"/>
        </a:p>
      </dgm:t>
    </dgm:pt>
    <dgm:pt modelId="{D45108D2-F7C1-4E3D-BFAA-01D23C40C50D}" type="sibTrans" cxnId="{00B5EC4E-6097-4AC7-BEBE-FE2707711677}">
      <dgm:prSet/>
      <dgm:spPr/>
      <dgm:t>
        <a:bodyPr/>
        <a:lstStyle/>
        <a:p>
          <a:endParaRPr lang="fr-FR"/>
        </a:p>
      </dgm:t>
    </dgm:pt>
    <dgm:pt modelId="{146B36C4-C448-49BF-A197-333D1731326F}">
      <dgm:prSet phldrT="[Texte]"/>
      <dgm:spPr/>
      <dgm:t>
        <a:bodyPr/>
        <a:lstStyle/>
        <a:p>
          <a:r>
            <a:rPr lang="fr-FR" dirty="0"/>
            <a:t>Conduite automatisée &lt; 60 km/h sur voies à chaussées séparées</a:t>
          </a:r>
        </a:p>
      </dgm:t>
    </dgm:pt>
    <dgm:pt modelId="{39F5244C-AABE-4E6A-9454-E59B2A5B7C3F}" type="parTrans" cxnId="{9BDD2F80-E7A9-4C9C-9F82-131BF75B8E3C}">
      <dgm:prSet/>
      <dgm:spPr/>
      <dgm:t>
        <a:bodyPr/>
        <a:lstStyle/>
        <a:p>
          <a:endParaRPr lang="fr-FR"/>
        </a:p>
      </dgm:t>
    </dgm:pt>
    <dgm:pt modelId="{4C456D5E-DE64-4F1A-9317-528194502030}" type="sibTrans" cxnId="{9BDD2F80-E7A9-4C9C-9F82-131BF75B8E3C}">
      <dgm:prSet/>
      <dgm:spPr/>
      <dgm:t>
        <a:bodyPr/>
        <a:lstStyle/>
        <a:p>
          <a:endParaRPr lang="fr-FR"/>
        </a:p>
      </dgm:t>
    </dgm:pt>
    <dgm:pt modelId="{72E45CD7-C630-4B48-872E-88D9433820F4}">
      <dgm:prSet phldrT="[Texte]"/>
      <dgm:spPr/>
      <dgm:t>
        <a:bodyPr/>
        <a:lstStyle/>
        <a:p>
          <a:r>
            <a:rPr lang="fr-FR" dirty="0"/>
            <a:t>Service de mobilité autonome et partagée</a:t>
          </a:r>
        </a:p>
      </dgm:t>
    </dgm:pt>
    <dgm:pt modelId="{0C3F4AD9-5D6B-4147-9B28-71B64512F94F}" type="parTrans" cxnId="{054BF832-E2B8-4FA1-B0BC-C5ABE25EA84B}">
      <dgm:prSet/>
      <dgm:spPr/>
      <dgm:t>
        <a:bodyPr/>
        <a:lstStyle/>
        <a:p>
          <a:endParaRPr lang="fr-FR"/>
        </a:p>
      </dgm:t>
    </dgm:pt>
    <dgm:pt modelId="{4CD2C5DC-0ED4-403A-BDAB-3822C4647FD7}" type="sibTrans" cxnId="{054BF832-E2B8-4FA1-B0BC-C5ABE25EA84B}">
      <dgm:prSet/>
      <dgm:spPr/>
      <dgm:t>
        <a:bodyPr/>
        <a:lstStyle/>
        <a:p>
          <a:endParaRPr lang="fr-FR"/>
        </a:p>
      </dgm:t>
    </dgm:pt>
    <dgm:pt modelId="{637E2662-413B-4184-935B-AD990716100A}">
      <dgm:prSet phldrT="[Texte]"/>
      <dgm:spPr/>
      <dgm:t>
        <a:bodyPr/>
        <a:lstStyle/>
        <a:p>
          <a:r>
            <a:rPr lang="fr-FR" dirty="0"/>
            <a:t>Parking automatisé</a:t>
          </a:r>
        </a:p>
      </dgm:t>
    </dgm:pt>
    <dgm:pt modelId="{259A44E1-F70A-4371-AF25-BBA0CFE66553}" type="parTrans" cxnId="{4E5C2B2B-5784-433D-A509-02BA4DE3137F}">
      <dgm:prSet/>
      <dgm:spPr/>
      <dgm:t>
        <a:bodyPr/>
        <a:lstStyle/>
        <a:p>
          <a:endParaRPr lang="fr-FR"/>
        </a:p>
      </dgm:t>
    </dgm:pt>
    <dgm:pt modelId="{FA252F15-42DF-4E78-9D98-A94F30D44C98}" type="sibTrans" cxnId="{4E5C2B2B-5784-433D-A509-02BA4DE3137F}">
      <dgm:prSet/>
      <dgm:spPr/>
      <dgm:t>
        <a:bodyPr/>
        <a:lstStyle/>
        <a:p>
          <a:endParaRPr lang="fr-FR"/>
        </a:p>
      </dgm:t>
    </dgm:pt>
    <dgm:pt modelId="{90FA65A9-89BC-4489-907C-74652BFC09D1}">
      <dgm:prSet phldrT="[Texte]"/>
      <dgm:spPr/>
      <dgm:t>
        <a:bodyPr/>
        <a:lstStyle/>
        <a:p>
          <a:r>
            <a:rPr lang="fr-FR" dirty="0"/>
            <a:t>Valet de parking</a:t>
          </a:r>
        </a:p>
      </dgm:t>
    </dgm:pt>
    <dgm:pt modelId="{86477BBF-37EE-48FB-BA25-F02F46A8166B}" type="parTrans" cxnId="{8E812485-612E-4132-8E77-AA32DBF0528B}">
      <dgm:prSet/>
      <dgm:spPr/>
      <dgm:t>
        <a:bodyPr/>
        <a:lstStyle/>
        <a:p>
          <a:endParaRPr lang="fr-FR"/>
        </a:p>
      </dgm:t>
    </dgm:pt>
    <dgm:pt modelId="{72EB958C-792D-4735-BA10-1733E1B75B23}" type="sibTrans" cxnId="{8E812485-612E-4132-8E77-AA32DBF0528B}">
      <dgm:prSet/>
      <dgm:spPr/>
      <dgm:t>
        <a:bodyPr/>
        <a:lstStyle/>
        <a:p>
          <a:endParaRPr lang="fr-FR"/>
        </a:p>
      </dgm:t>
    </dgm:pt>
    <dgm:pt modelId="{BA58D75B-B1EE-48ED-86E6-291FE6A052E0}">
      <dgm:prSet phldrT="[Texte]"/>
      <dgm:spPr/>
      <dgm:t>
        <a:bodyPr/>
        <a:lstStyle/>
        <a:p>
          <a:r>
            <a:rPr lang="fr-FR" dirty="0"/>
            <a:t>Desserte fine d’un site public (quartier, zone commerciale,…)</a:t>
          </a:r>
        </a:p>
      </dgm:t>
    </dgm:pt>
    <dgm:pt modelId="{20DD9AA7-0A28-47E9-BB7B-C30BE74C982F}" type="parTrans" cxnId="{69AF7FF8-69D3-45B8-AD3C-42FBEF350DB8}">
      <dgm:prSet/>
      <dgm:spPr/>
      <dgm:t>
        <a:bodyPr/>
        <a:lstStyle/>
        <a:p>
          <a:endParaRPr lang="fr-FR"/>
        </a:p>
      </dgm:t>
    </dgm:pt>
    <dgm:pt modelId="{6FB3E4BB-BC84-4224-9E48-AAC10D4111DA}" type="sibTrans" cxnId="{69AF7FF8-69D3-45B8-AD3C-42FBEF350DB8}">
      <dgm:prSet/>
      <dgm:spPr/>
      <dgm:t>
        <a:bodyPr/>
        <a:lstStyle/>
        <a:p>
          <a:endParaRPr lang="fr-FR"/>
        </a:p>
      </dgm:t>
    </dgm:pt>
    <dgm:pt modelId="{C15CE284-5ECC-4ABB-A592-B0D1402EDFDC}">
      <dgm:prSet phldrT="[Texte]"/>
      <dgm:spPr/>
      <dgm:t>
        <a:bodyPr/>
        <a:lstStyle/>
        <a:p>
          <a:r>
            <a:rPr lang="fr-FR" dirty="0"/>
            <a:t> Desserte premier et dernier km à partir et vers un hub de transport</a:t>
          </a:r>
        </a:p>
      </dgm:t>
    </dgm:pt>
    <dgm:pt modelId="{79BACF70-4132-4C17-884E-B525EF909E31}" type="parTrans" cxnId="{E91326D9-6DEC-4768-842A-BF31A4357310}">
      <dgm:prSet/>
      <dgm:spPr/>
      <dgm:t>
        <a:bodyPr/>
        <a:lstStyle/>
        <a:p>
          <a:endParaRPr lang="fr-FR"/>
        </a:p>
      </dgm:t>
    </dgm:pt>
    <dgm:pt modelId="{501EFD11-2E46-4524-AA22-B57AA378BC56}" type="sibTrans" cxnId="{E91326D9-6DEC-4768-842A-BF31A4357310}">
      <dgm:prSet/>
      <dgm:spPr/>
      <dgm:t>
        <a:bodyPr/>
        <a:lstStyle/>
        <a:p>
          <a:endParaRPr lang="fr-FR"/>
        </a:p>
      </dgm:t>
    </dgm:pt>
    <dgm:pt modelId="{54CA054A-942D-4E4B-8F01-8C87DB98E292}">
      <dgm:prSet phldrT="[Texte]"/>
      <dgm:spPr/>
      <dgm:t>
        <a:bodyPr/>
        <a:lstStyle/>
        <a:p>
          <a:r>
            <a:rPr lang="fr-FR" dirty="0"/>
            <a:t>Extension de ligne de bus existante (tracé, fréquence, amplitude)</a:t>
          </a:r>
        </a:p>
      </dgm:t>
    </dgm:pt>
    <dgm:pt modelId="{F4AA5AE2-F5DB-415D-B1D4-F871C7F8F934}" type="parTrans" cxnId="{40FA9C8F-66E5-40A5-9704-8FC69153B76C}">
      <dgm:prSet/>
      <dgm:spPr/>
      <dgm:t>
        <a:bodyPr/>
        <a:lstStyle/>
        <a:p>
          <a:endParaRPr lang="fr-FR"/>
        </a:p>
      </dgm:t>
    </dgm:pt>
    <dgm:pt modelId="{B66EFC87-4F8D-4123-8013-0A7E06D48124}" type="sibTrans" cxnId="{40FA9C8F-66E5-40A5-9704-8FC69153B76C}">
      <dgm:prSet/>
      <dgm:spPr/>
      <dgm:t>
        <a:bodyPr/>
        <a:lstStyle/>
        <a:p>
          <a:endParaRPr lang="fr-FR"/>
        </a:p>
      </dgm:t>
    </dgm:pt>
    <dgm:pt modelId="{6472516A-5BD9-4D1D-9967-499BFA512491}">
      <dgm:prSet phldrT="[Texte]"/>
      <dgm:spPr/>
      <dgm:t>
        <a:bodyPr/>
        <a:lstStyle/>
        <a:p>
          <a:r>
            <a:rPr lang="fr-FR" dirty="0"/>
            <a:t>Automatisation de ligne de bus existante</a:t>
          </a:r>
        </a:p>
      </dgm:t>
    </dgm:pt>
    <dgm:pt modelId="{CE30B529-C940-40AE-A63B-BF283D2EC1C1}" type="parTrans" cxnId="{BA725697-1383-4B0E-97BB-EDBA12F2AAFA}">
      <dgm:prSet/>
      <dgm:spPr/>
      <dgm:t>
        <a:bodyPr/>
        <a:lstStyle/>
        <a:p>
          <a:endParaRPr lang="fr-FR"/>
        </a:p>
      </dgm:t>
    </dgm:pt>
    <dgm:pt modelId="{6F5C27C9-4FB0-42F2-9699-DE2958ED5AC1}" type="sibTrans" cxnId="{BA725697-1383-4B0E-97BB-EDBA12F2AAFA}">
      <dgm:prSet/>
      <dgm:spPr/>
      <dgm:t>
        <a:bodyPr/>
        <a:lstStyle/>
        <a:p>
          <a:endParaRPr lang="fr-FR"/>
        </a:p>
      </dgm:t>
    </dgm:pt>
    <dgm:pt modelId="{77C6AC0D-D58F-40B1-9F62-64C47E4A0CAD}">
      <dgm:prSet phldrT="[Texte]"/>
      <dgm:spPr/>
      <dgm:t>
        <a:bodyPr/>
        <a:lstStyle/>
        <a:p>
          <a:r>
            <a:rPr lang="fr-FR" dirty="0"/>
            <a:t>Desserte pôle à pôle</a:t>
          </a:r>
        </a:p>
      </dgm:t>
    </dgm:pt>
    <dgm:pt modelId="{FCD499BB-09A5-4E2D-B0DD-2BA0BA1D35BE}" type="parTrans" cxnId="{7F22B4C1-772F-46E6-A95E-434A18A4F5BE}">
      <dgm:prSet/>
      <dgm:spPr/>
      <dgm:t>
        <a:bodyPr/>
        <a:lstStyle/>
        <a:p>
          <a:endParaRPr lang="fr-FR"/>
        </a:p>
      </dgm:t>
    </dgm:pt>
    <dgm:pt modelId="{9D27BA89-2D01-4C9D-93DB-15BB18F66D24}" type="sibTrans" cxnId="{7F22B4C1-772F-46E6-A95E-434A18A4F5BE}">
      <dgm:prSet/>
      <dgm:spPr/>
      <dgm:t>
        <a:bodyPr/>
        <a:lstStyle/>
        <a:p>
          <a:endParaRPr lang="fr-FR"/>
        </a:p>
      </dgm:t>
    </dgm:pt>
    <dgm:pt modelId="{34DE0BA1-5145-4421-B2FB-A59918EDE87E}">
      <dgm:prSet phldrT="[Texte]"/>
      <dgm:spPr/>
      <dgm:t>
        <a:bodyPr/>
        <a:lstStyle/>
        <a:p>
          <a:r>
            <a:rPr lang="fr-FR" dirty="0"/>
            <a:t>VTC, robot-taxi autonome, micro-transit</a:t>
          </a:r>
        </a:p>
      </dgm:t>
    </dgm:pt>
    <dgm:pt modelId="{9F03F782-625F-4C13-82B7-0DAFA791AF37}" type="parTrans" cxnId="{4D6B73F4-05EC-46DF-9F95-664AF89FE5C7}">
      <dgm:prSet/>
      <dgm:spPr/>
      <dgm:t>
        <a:bodyPr/>
        <a:lstStyle/>
        <a:p>
          <a:endParaRPr lang="fr-FR"/>
        </a:p>
      </dgm:t>
    </dgm:pt>
    <dgm:pt modelId="{5E61DFD8-58CA-4FB0-B590-FA50588E39DB}" type="sibTrans" cxnId="{4D6B73F4-05EC-46DF-9F95-664AF89FE5C7}">
      <dgm:prSet/>
      <dgm:spPr/>
      <dgm:t>
        <a:bodyPr/>
        <a:lstStyle/>
        <a:p>
          <a:endParaRPr lang="fr-FR"/>
        </a:p>
      </dgm:t>
    </dgm:pt>
    <dgm:pt modelId="{F4BC5C18-2A30-43F4-BCC4-EE07F24A8765}">
      <dgm:prSet phldrT="[Texte]"/>
      <dgm:spPr/>
      <dgm:t>
        <a:bodyPr/>
        <a:lstStyle/>
        <a:p>
          <a:r>
            <a:rPr lang="fr-FR" dirty="0"/>
            <a:t>Co-voiturage automatisée sur des voies protégées avec coopération avec l’infrastructure</a:t>
          </a:r>
        </a:p>
      </dgm:t>
    </dgm:pt>
    <dgm:pt modelId="{BDBE012A-0564-447C-89A3-7C7D0907E19A}" type="parTrans" cxnId="{60BCC4E8-0400-41FA-8BBE-122CF65726C9}">
      <dgm:prSet/>
      <dgm:spPr/>
      <dgm:t>
        <a:bodyPr/>
        <a:lstStyle/>
        <a:p>
          <a:endParaRPr lang="fr-FR"/>
        </a:p>
      </dgm:t>
    </dgm:pt>
    <dgm:pt modelId="{3E5CCC68-6881-4705-84EA-8CBB52D7362C}" type="sibTrans" cxnId="{60BCC4E8-0400-41FA-8BBE-122CF65726C9}">
      <dgm:prSet/>
      <dgm:spPr/>
      <dgm:t>
        <a:bodyPr/>
        <a:lstStyle/>
        <a:p>
          <a:endParaRPr lang="fr-FR"/>
        </a:p>
      </dgm:t>
    </dgm:pt>
    <dgm:pt modelId="{B57D8FAD-9A04-493A-947C-186133602362}">
      <dgm:prSet phldrT="[Texte]"/>
      <dgm:spPr/>
      <dgm:t>
        <a:bodyPr/>
        <a:lstStyle/>
        <a:p>
          <a:r>
            <a:rPr lang="fr-FR" dirty="0"/>
            <a:t>Conduite automatisée 130 km/h sur voies à chaussées séparées</a:t>
          </a:r>
        </a:p>
      </dgm:t>
    </dgm:pt>
    <dgm:pt modelId="{2D62F315-294C-4E29-96A6-C1ABD8F0AE3D}" type="parTrans" cxnId="{61B41D50-3735-4593-9AE7-053867727AF7}">
      <dgm:prSet/>
      <dgm:spPr/>
      <dgm:t>
        <a:bodyPr/>
        <a:lstStyle/>
        <a:p>
          <a:endParaRPr lang="fr-FR"/>
        </a:p>
      </dgm:t>
    </dgm:pt>
    <dgm:pt modelId="{6CF6FAEF-3D56-4913-AA83-17FC2EF31369}" type="sibTrans" cxnId="{61B41D50-3735-4593-9AE7-053867727AF7}">
      <dgm:prSet/>
      <dgm:spPr/>
      <dgm:t>
        <a:bodyPr/>
        <a:lstStyle/>
        <a:p>
          <a:endParaRPr lang="fr-FR"/>
        </a:p>
      </dgm:t>
    </dgm:pt>
    <dgm:pt modelId="{64E0963A-7D77-42F0-9260-6C5D8D16ADF4}">
      <dgm:prSet phldrT="[Texte]"/>
      <dgm:spPr/>
      <dgm:t>
        <a:bodyPr/>
        <a:lstStyle/>
        <a:p>
          <a:endParaRPr lang="fr-FR" dirty="0"/>
        </a:p>
      </dgm:t>
    </dgm:pt>
    <dgm:pt modelId="{F975E1A3-740A-4454-AC92-256D6B85D56F}" type="parTrans" cxnId="{6D4F451E-46A3-45AF-9975-9DD258D5B916}">
      <dgm:prSet/>
      <dgm:spPr/>
      <dgm:t>
        <a:bodyPr/>
        <a:lstStyle/>
        <a:p>
          <a:endParaRPr lang="fr-FR"/>
        </a:p>
      </dgm:t>
    </dgm:pt>
    <dgm:pt modelId="{A509AA3E-FD7F-4272-B543-A5A05D26B077}" type="sibTrans" cxnId="{6D4F451E-46A3-45AF-9975-9DD258D5B916}">
      <dgm:prSet/>
      <dgm:spPr/>
      <dgm:t>
        <a:bodyPr/>
        <a:lstStyle/>
        <a:p>
          <a:endParaRPr lang="fr-FR"/>
        </a:p>
      </dgm:t>
    </dgm:pt>
    <dgm:pt modelId="{4CE2A876-976C-49B6-BCFA-9FBE462F8C71}">
      <dgm:prSet phldrT="[Texte]"/>
      <dgm:spPr/>
      <dgm:t>
        <a:bodyPr/>
        <a:lstStyle/>
        <a:p>
          <a:endParaRPr lang="fr-FR" dirty="0"/>
        </a:p>
      </dgm:t>
    </dgm:pt>
    <dgm:pt modelId="{8B50BF26-86E7-485B-A195-1EE177CB9DE1}" type="parTrans" cxnId="{81B414A9-86F6-44A0-AF62-8C3E6FCFF394}">
      <dgm:prSet/>
      <dgm:spPr/>
      <dgm:t>
        <a:bodyPr/>
        <a:lstStyle/>
        <a:p>
          <a:endParaRPr lang="fr-FR"/>
        </a:p>
      </dgm:t>
    </dgm:pt>
    <dgm:pt modelId="{42C93FF7-8BD0-41FC-B316-C1F462320D91}" type="sibTrans" cxnId="{81B414A9-86F6-44A0-AF62-8C3E6FCFF394}">
      <dgm:prSet/>
      <dgm:spPr/>
      <dgm:t>
        <a:bodyPr/>
        <a:lstStyle/>
        <a:p>
          <a:endParaRPr lang="fr-FR"/>
        </a:p>
      </dgm:t>
    </dgm:pt>
    <dgm:pt modelId="{43CBF117-C00B-43D4-8A71-45C9BAE2204E}" type="pres">
      <dgm:prSet presAssocID="{8FB57CE9-0E93-47F4-B9E7-03836769FB5F}" presName="Name0" presStyleCnt="0">
        <dgm:presLayoutVars>
          <dgm:dir/>
          <dgm:animLvl val="lvl"/>
          <dgm:resizeHandles val="exact"/>
        </dgm:presLayoutVars>
      </dgm:prSet>
      <dgm:spPr/>
    </dgm:pt>
    <dgm:pt modelId="{1A68AA51-AA7C-4EC4-BE11-825F8EEAFED5}" type="pres">
      <dgm:prSet presAssocID="{468DD21C-62EC-4F3B-9CE7-4D2667B63112}" presName="composite" presStyleCnt="0"/>
      <dgm:spPr/>
    </dgm:pt>
    <dgm:pt modelId="{A6022594-A554-4450-85EC-B60A320C94B4}" type="pres">
      <dgm:prSet presAssocID="{468DD21C-62EC-4F3B-9CE7-4D2667B63112}" presName="parTx" presStyleLbl="alignNode1" presStyleIdx="0" presStyleCnt="2" custScaleY="111748" custLinFactNeighborY="5773">
        <dgm:presLayoutVars>
          <dgm:chMax val="0"/>
          <dgm:chPref val="0"/>
          <dgm:bulletEnabled val="1"/>
        </dgm:presLayoutVars>
      </dgm:prSet>
      <dgm:spPr/>
    </dgm:pt>
    <dgm:pt modelId="{7A03C77D-844A-4362-9D9B-20F58960A280}" type="pres">
      <dgm:prSet presAssocID="{468DD21C-62EC-4F3B-9CE7-4D2667B63112}" presName="desTx" presStyleLbl="alignAccFollowNode1" presStyleIdx="0" presStyleCnt="2">
        <dgm:presLayoutVars>
          <dgm:bulletEnabled val="1"/>
        </dgm:presLayoutVars>
      </dgm:prSet>
      <dgm:spPr/>
    </dgm:pt>
    <dgm:pt modelId="{B4158407-C071-4EE1-A0BA-E3FCDCF3A4E8}" type="pres">
      <dgm:prSet presAssocID="{D45108D2-F7C1-4E3D-BFAA-01D23C40C50D}" presName="space" presStyleCnt="0"/>
      <dgm:spPr/>
    </dgm:pt>
    <dgm:pt modelId="{D7E205A1-31EB-4AA7-A2ED-133177654C2D}" type="pres">
      <dgm:prSet presAssocID="{72E45CD7-C630-4B48-872E-88D9433820F4}" presName="composite" presStyleCnt="0"/>
      <dgm:spPr/>
    </dgm:pt>
    <dgm:pt modelId="{ECFA5B11-B926-430A-99F5-BD55A7DA942E}" type="pres">
      <dgm:prSet presAssocID="{72E45CD7-C630-4B48-872E-88D9433820F4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B58E5D71-8CF3-4437-B8D0-A4D6F1491DB0}" type="pres">
      <dgm:prSet presAssocID="{72E45CD7-C630-4B48-872E-88D9433820F4}" presName="desTx" presStyleLbl="alignAccFollowNode1" presStyleIdx="1" presStyleCnt="2" custLinFactNeighborX="-861">
        <dgm:presLayoutVars>
          <dgm:bulletEnabled val="1"/>
        </dgm:presLayoutVars>
      </dgm:prSet>
      <dgm:spPr/>
    </dgm:pt>
  </dgm:ptLst>
  <dgm:cxnLst>
    <dgm:cxn modelId="{6E302A0A-BED2-4CF6-9FD5-A90512883D51}" type="presOf" srcId="{72E45CD7-C630-4B48-872E-88D9433820F4}" destId="{ECFA5B11-B926-430A-99F5-BD55A7DA942E}" srcOrd="0" destOrd="0" presId="urn:microsoft.com/office/officeart/2005/8/layout/hList1"/>
    <dgm:cxn modelId="{6D4F451E-46A3-45AF-9975-9DD258D5B916}" srcId="{468DD21C-62EC-4F3B-9CE7-4D2667B63112}" destId="{64E0963A-7D77-42F0-9260-6C5D8D16ADF4}" srcOrd="3" destOrd="0" parTransId="{F975E1A3-740A-4454-AC92-256D6B85D56F}" sibTransId="{A509AA3E-FD7F-4272-B543-A5A05D26B077}"/>
    <dgm:cxn modelId="{6741DD24-EFC8-4509-95D2-F614A8BB3A04}" type="presOf" srcId="{34DE0BA1-5145-4421-B2FB-A59918EDE87E}" destId="{B58E5D71-8CF3-4437-B8D0-A4D6F1491DB0}" srcOrd="0" destOrd="6" presId="urn:microsoft.com/office/officeart/2005/8/layout/hList1"/>
    <dgm:cxn modelId="{4E5C2B2B-5784-433D-A509-02BA4DE3137F}" srcId="{468DD21C-62EC-4F3B-9CE7-4D2667B63112}" destId="{637E2662-413B-4184-935B-AD990716100A}" srcOrd="4" destOrd="0" parTransId="{259A44E1-F70A-4371-AF25-BBA0CFE66553}" sibTransId="{FA252F15-42DF-4E78-9D98-A94F30D44C98}"/>
    <dgm:cxn modelId="{4840AC31-B2C6-4BB7-9D71-169E094E4D67}" type="presOf" srcId="{EAD7121B-52DD-457B-AE8D-817F11024AB6}" destId="{B58E5D71-8CF3-4437-B8D0-A4D6F1491DB0}" srcOrd="0" destOrd="0" presId="urn:microsoft.com/office/officeart/2005/8/layout/hList1"/>
    <dgm:cxn modelId="{054BF832-E2B8-4FA1-B0BC-C5ABE25EA84B}" srcId="{8FB57CE9-0E93-47F4-B9E7-03836769FB5F}" destId="{72E45CD7-C630-4B48-872E-88D9433820F4}" srcOrd="1" destOrd="0" parTransId="{0C3F4AD9-5D6B-4147-9B28-71B64512F94F}" sibTransId="{4CD2C5DC-0ED4-403A-BDAB-3822C4647FD7}"/>
    <dgm:cxn modelId="{CD1BC847-F4EF-458C-A8FA-922F9A39DF13}" type="presOf" srcId="{77C6AC0D-D58F-40B1-9F62-64C47E4A0CAD}" destId="{B58E5D71-8CF3-4437-B8D0-A4D6F1491DB0}" srcOrd="0" destOrd="5" presId="urn:microsoft.com/office/officeart/2005/8/layout/hList1"/>
    <dgm:cxn modelId="{00B5EC4E-6097-4AC7-BEBE-FE2707711677}" srcId="{8FB57CE9-0E93-47F4-B9E7-03836769FB5F}" destId="{468DD21C-62EC-4F3B-9CE7-4D2667B63112}" srcOrd="0" destOrd="0" parTransId="{F780D5CB-103C-4A3D-BCE3-2405321EF5A5}" sibTransId="{D45108D2-F7C1-4E3D-BFAA-01D23C40C50D}"/>
    <dgm:cxn modelId="{61B41D50-3735-4593-9AE7-053867727AF7}" srcId="{468DD21C-62EC-4F3B-9CE7-4D2667B63112}" destId="{B57D8FAD-9A04-493A-947C-186133602362}" srcOrd="1" destOrd="0" parTransId="{2D62F315-294C-4E29-96A6-C1ABD8F0AE3D}" sibTransId="{6CF6FAEF-3D56-4913-AA83-17FC2EF31369}"/>
    <dgm:cxn modelId="{D21C6654-E47A-424A-B8C4-705FD24D415D}" type="presOf" srcId="{6472516A-5BD9-4D1D-9967-499BFA512491}" destId="{B58E5D71-8CF3-4437-B8D0-A4D6F1491DB0}" srcOrd="0" destOrd="4" presId="urn:microsoft.com/office/officeart/2005/8/layout/hList1"/>
    <dgm:cxn modelId="{D095CC58-D0BA-455A-AE58-F2D337D168BF}" type="presOf" srcId="{64E0963A-7D77-42F0-9260-6C5D8D16ADF4}" destId="{7A03C77D-844A-4362-9D9B-20F58960A280}" srcOrd="0" destOrd="3" presId="urn:microsoft.com/office/officeart/2005/8/layout/hList1"/>
    <dgm:cxn modelId="{6CF3BE5C-F4BC-4690-ABC2-F5E27EE05281}" type="presOf" srcId="{BA58D75B-B1EE-48ED-86E6-291FE6A052E0}" destId="{B58E5D71-8CF3-4437-B8D0-A4D6F1491DB0}" srcOrd="0" destOrd="1" presId="urn:microsoft.com/office/officeart/2005/8/layout/hList1"/>
    <dgm:cxn modelId="{9BDD2F80-E7A9-4C9C-9F82-131BF75B8E3C}" srcId="{468DD21C-62EC-4F3B-9CE7-4D2667B63112}" destId="{146B36C4-C448-49BF-A197-333D1731326F}" srcOrd="0" destOrd="0" parTransId="{39F5244C-AABE-4E6A-9454-E59B2A5B7C3F}" sibTransId="{4C456D5E-DE64-4F1A-9317-528194502030}"/>
    <dgm:cxn modelId="{8E812485-612E-4132-8E77-AA32DBF0528B}" srcId="{468DD21C-62EC-4F3B-9CE7-4D2667B63112}" destId="{90FA65A9-89BC-4489-907C-74652BFC09D1}" srcOrd="5" destOrd="0" parTransId="{86477BBF-37EE-48FB-BA25-F02F46A8166B}" sibTransId="{72EB958C-792D-4735-BA10-1733E1B75B23}"/>
    <dgm:cxn modelId="{929F4186-5527-407E-8415-7A4AF491A1D7}" type="presOf" srcId="{637E2662-413B-4184-935B-AD990716100A}" destId="{7A03C77D-844A-4362-9D9B-20F58960A280}" srcOrd="0" destOrd="4" presId="urn:microsoft.com/office/officeart/2005/8/layout/hList1"/>
    <dgm:cxn modelId="{40FA9C8F-66E5-40A5-9704-8FC69153B76C}" srcId="{72E45CD7-C630-4B48-872E-88D9433820F4}" destId="{54CA054A-942D-4E4B-8F01-8C87DB98E292}" srcOrd="3" destOrd="0" parTransId="{F4AA5AE2-F5DB-415D-B1D4-F871C7F8F934}" sibTransId="{B66EFC87-4F8D-4123-8013-0A7E06D48124}"/>
    <dgm:cxn modelId="{BA725697-1383-4B0E-97BB-EDBA12F2AAFA}" srcId="{72E45CD7-C630-4B48-872E-88D9433820F4}" destId="{6472516A-5BD9-4D1D-9967-499BFA512491}" srcOrd="4" destOrd="0" parTransId="{CE30B529-C940-40AE-A63B-BF283D2EC1C1}" sibTransId="{6F5C27C9-4FB0-42F2-9699-DE2958ED5AC1}"/>
    <dgm:cxn modelId="{7AE8EA9E-CD7B-4085-9ADC-8838332449AB}" type="presOf" srcId="{4CE2A876-976C-49B6-BCFA-9FBE462F8C71}" destId="{7A03C77D-844A-4362-9D9B-20F58960A280}" srcOrd="0" destOrd="2" presId="urn:microsoft.com/office/officeart/2005/8/layout/hList1"/>
    <dgm:cxn modelId="{090C6AA1-D25E-4387-B16A-9175C5475D9C}" type="presOf" srcId="{F4BC5C18-2A30-43F4-BCC4-EE07F24A8765}" destId="{B58E5D71-8CF3-4437-B8D0-A4D6F1491DB0}" srcOrd="0" destOrd="7" presId="urn:microsoft.com/office/officeart/2005/8/layout/hList1"/>
    <dgm:cxn modelId="{81B414A9-86F6-44A0-AF62-8C3E6FCFF394}" srcId="{468DD21C-62EC-4F3B-9CE7-4D2667B63112}" destId="{4CE2A876-976C-49B6-BCFA-9FBE462F8C71}" srcOrd="2" destOrd="0" parTransId="{8B50BF26-86E7-485B-A195-1EE177CB9DE1}" sibTransId="{42C93FF7-8BD0-41FC-B316-C1F462320D91}"/>
    <dgm:cxn modelId="{C474F4B4-761D-4733-B9D1-9F55E9A63361}" type="presOf" srcId="{8FB57CE9-0E93-47F4-B9E7-03836769FB5F}" destId="{43CBF117-C00B-43D4-8A71-45C9BAE2204E}" srcOrd="0" destOrd="0" presId="urn:microsoft.com/office/officeart/2005/8/layout/hList1"/>
    <dgm:cxn modelId="{C80170B8-9CC4-4DE7-A421-FD8FDF39B640}" type="presOf" srcId="{C15CE284-5ECC-4ABB-A592-B0D1402EDFDC}" destId="{B58E5D71-8CF3-4437-B8D0-A4D6F1491DB0}" srcOrd="0" destOrd="2" presId="urn:microsoft.com/office/officeart/2005/8/layout/hList1"/>
    <dgm:cxn modelId="{2FCEF5B8-5C4D-4208-A4B8-9EC0B15F3B23}" type="presOf" srcId="{90FA65A9-89BC-4489-907C-74652BFC09D1}" destId="{7A03C77D-844A-4362-9D9B-20F58960A280}" srcOrd="0" destOrd="5" presId="urn:microsoft.com/office/officeart/2005/8/layout/hList1"/>
    <dgm:cxn modelId="{37D750C1-6151-4CD4-878A-A7AFF8C00269}" type="presOf" srcId="{B57D8FAD-9A04-493A-947C-186133602362}" destId="{7A03C77D-844A-4362-9D9B-20F58960A280}" srcOrd="0" destOrd="1" presId="urn:microsoft.com/office/officeart/2005/8/layout/hList1"/>
    <dgm:cxn modelId="{7F22B4C1-772F-46E6-A95E-434A18A4F5BE}" srcId="{72E45CD7-C630-4B48-872E-88D9433820F4}" destId="{77C6AC0D-D58F-40B1-9F62-64C47E4A0CAD}" srcOrd="5" destOrd="0" parTransId="{FCD499BB-09A5-4E2D-B0DD-2BA0BA1D35BE}" sibTransId="{9D27BA89-2D01-4C9D-93DB-15BB18F66D24}"/>
    <dgm:cxn modelId="{E91326D9-6DEC-4768-842A-BF31A4357310}" srcId="{72E45CD7-C630-4B48-872E-88D9433820F4}" destId="{C15CE284-5ECC-4ABB-A592-B0D1402EDFDC}" srcOrd="2" destOrd="0" parTransId="{79BACF70-4132-4C17-884E-B525EF909E31}" sibTransId="{501EFD11-2E46-4524-AA22-B57AA378BC56}"/>
    <dgm:cxn modelId="{4745A0DE-A507-457A-9319-954FEBBE286C}" type="presOf" srcId="{146B36C4-C448-49BF-A197-333D1731326F}" destId="{7A03C77D-844A-4362-9D9B-20F58960A280}" srcOrd="0" destOrd="0" presId="urn:microsoft.com/office/officeart/2005/8/layout/hList1"/>
    <dgm:cxn modelId="{9224C9E2-CDE6-4CCA-A769-5A167752E258}" type="presOf" srcId="{54CA054A-942D-4E4B-8F01-8C87DB98E292}" destId="{B58E5D71-8CF3-4437-B8D0-A4D6F1491DB0}" srcOrd="0" destOrd="3" presId="urn:microsoft.com/office/officeart/2005/8/layout/hList1"/>
    <dgm:cxn modelId="{60BCC4E8-0400-41FA-8BBE-122CF65726C9}" srcId="{72E45CD7-C630-4B48-872E-88D9433820F4}" destId="{F4BC5C18-2A30-43F4-BCC4-EE07F24A8765}" srcOrd="7" destOrd="0" parTransId="{BDBE012A-0564-447C-89A3-7C7D0907E19A}" sibTransId="{3E5CCC68-6881-4705-84EA-8CBB52D7362C}"/>
    <dgm:cxn modelId="{9E8468F1-7A27-4340-87D7-669832002AAA}" type="presOf" srcId="{468DD21C-62EC-4F3B-9CE7-4D2667B63112}" destId="{A6022594-A554-4450-85EC-B60A320C94B4}" srcOrd="0" destOrd="0" presId="urn:microsoft.com/office/officeart/2005/8/layout/hList1"/>
    <dgm:cxn modelId="{4D6B73F4-05EC-46DF-9F95-664AF89FE5C7}" srcId="{72E45CD7-C630-4B48-872E-88D9433820F4}" destId="{34DE0BA1-5145-4421-B2FB-A59918EDE87E}" srcOrd="6" destOrd="0" parTransId="{9F03F782-625F-4C13-82B7-0DAFA791AF37}" sibTransId="{5E61DFD8-58CA-4FB0-B590-FA50588E39DB}"/>
    <dgm:cxn modelId="{69AF7FF8-69D3-45B8-AD3C-42FBEF350DB8}" srcId="{72E45CD7-C630-4B48-872E-88D9433820F4}" destId="{BA58D75B-B1EE-48ED-86E6-291FE6A052E0}" srcOrd="1" destOrd="0" parTransId="{20DD9AA7-0A28-47E9-BB7B-C30BE74C982F}" sibTransId="{6FB3E4BB-BC84-4224-9E48-AAC10D4111DA}"/>
    <dgm:cxn modelId="{84BACCF8-8CA3-48A0-805B-E9B145CAB510}" srcId="{72E45CD7-C630-4B48-872E-88D9433820F4}" destId="{EAD7121B-52DD-457B-AE8D-817F11024AB6}" srcOrd="0" destOrd="0" parTransId="{D708973B-E1CC-4ACB-B4C4-3B3DA671517C}" sibTransId="{231B7215-6213-4DC8-A6FA-6D89FEBD928B}"/>
    <dgm:cxn modelId="{3B54AFC2-2CD5-47FD-A994-949040029461}" type="presParOf" srcId="{43CBF117-C00B-43D4-8A71-45C9BAE2204E}" destId="{1A68AA51-AA7C-4EC4-BE11-825F8EEAFED5}" srcOrd="0" destOrd="0" presId="urn:microsoft.com/office/officeart/2005/8/layout/hList1"/>
    <dgm:cxn modelId="{CCE7368E-248F-4958-BF6A-91D59C9235C4}" type="presParOf" srcId="{1A68AA51-AA7C-4EC4-BE11-825F8EEAFED5}" destId="{A6022594-A554-4450-85EC-B60A320C94B4}" srcOrd="0" destOrd="0" presId="urn:microsoft.com/office/officeart/2005/8/layout/hList1"/>
    <dgm:cxn modelId="{A42D3030-0C4D-4F14-BD84-1B4A9044BA4C}" type="presParOf" srcId="{1A68AA51-AA7C-4EC4-BE11-825F8EEAFED5}" destId="{7A03C77D-844A-4362-9D9B-20F58960A280}" srcOrd="1" destOrd="0" presId="urn:microsoft.com/office/officeart/2005/8/layout/hList1"/>
    <dgm:cxn modelId="{62CDE67C-D862-4A51-BBEC-73C66A2CB71E}" type="presParOf" srcId="{43CBF117-C00B-43D4-8A71-45C9BAE2204E}" destId="{B4158407-C071-4EE1-A0BA-E3FCDCF3A4E8}" srcOrd="1" destOrd="0" presId="urn:microsoft.com/office/officeart/2005/8/layout/hList1"/>
    <dgm:cxn modelId="{A2C41A5F-9CFE-424B-A802-2E67BE263A49}" type="presParOf" srcId="{43CBF117-C00B-43D4-8A71-45C9BAE2204E}" destId="{D7E205A1-31EB-4AA7-A2ED-133177654C2D}" srcOrd="2" destOrd="0" presId="urn:microsoft.com/office/officeart/2005/8/layout/hList1"/>
    <dgm:cxn modelId="{0934C0C8-B0F8-4AF4-8F66-FCA067537637}" type="presParOf" srcId="{D7E205A1-31EB-4AA7-A2ED-133177654C2D}" destId="{ECFA5B11-B926-430A-99F5-BD55A7DA942E}" srcOrd="0" destOrd="0" presId="urn:microsoft.com/office/officeart/2005/8/layout/hList1"/>
    <dgm:cxn modelId="{6EDD15BC-6DE3-4787-8B45-DC06BECE5672}" type="presParOf" srcId="{D7E205A1-31EB-4AA7-A2ED-133177654C2D}" destId="{B58E5D71-8CF3-4437-B8D0-A4D6F1491DB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FB57CE9-0E93-47F4-B9E7-03836769FB5F}" type="doc">
      <dgm:prSet loTypeId="urn:microsoft.com/office/officeart/2005/8/layout/hList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3A9D5DF-BC9F-4309-9885-EE17DB348CD7}">
      <dgm:prSet phldrT="[Texte]"/>
      <dgm:spPr/>
      <dgm:t>
        <a:bodyPr/>
        <a:lstStyle/>
        <a:p>
          <a:r>
            <a:rPr lang="fr-FR" dirty="0"/>
            <a:t>Cœur de ville, zone rurale, zone urbaine, chaussée, trottoir, zone piétonne</a:t>
          </a:r>
        </a:p>
      </dgm:t>
    </dgm:pt>
    <dgm:pt modelId="{A95933B7-3140-48BA-93A2-A86487D5900C}" type="parTrans" cxnId="{94087824-477B-4847-8242-39D459EE7896}">
      <dgm:prSet/>
      <dgm:spPr/>
      <dgm:t>
        <a:bodyPr/>
        <a:lstStyle/>
        <a:p>
          <a:endParaRPr lang="fr-FR"/>
        </a:p>
      </dgm:t>
    </dgm:pt>
    <dgm:pt modelId="{8BCE053F-029B-4A90-9545-B108C75B6117}" type="sibTrans" cxnId="{94087824-477B-4847-8242-39D459EE7896}">
      <dgm:prSet/>
      <dgm:spPr/>
      <dgm:t>
        <a:bodyPr/>
        <a:lstStyle/>
        <a:p>
          <a:endParaRPr lang="fr-FR"/>
        </a:p>
      </dgm:t>
    </dgm:pt>
    <dgm:pt modelId="{EAD7121B-52DD-457B-AE8D-817F11024AB6}">
      <dgm:prSet phldrT="[Texte]"/>
      <dgm:spPr/>
      <dgm:t>
        <a:bodyPr/>
        <a:lstStyle/>
        <a:p>
          <a:r>
            <a:rPr lang="fr-FR" dirty="0"/>
            <a:t>Route, autoroute</a:t>
          </a:r>
        </a:p>
      </dgm:t>
    </dgm:pt>
    <dgm:pt modelId="{D708973B-E1CC-4ACB-B4C4-3B3DA671517C}" type="parTrans" cxnId="{84BACCF8-8CA3-48A0-805B-E9B145CAB510}">
      <dgm:prSet/>
      <dgm:spPr/>
      <dgm:t>
        <a:bodyPr/>
        <a:lstStyle/>
        <a:p>
          <a:endParaRPr lang="fr-FR"/>
        </a:p>
      </dgm:t>
    </dgm:pt>
    <dgm:pt modelId="{231B7215-6213-4DC8-A6FA-6D89FEBD928B}" type="sibTrans" cxnId="{84BACCF8-8CA3-48A0-805B-E9B145CAB510}">
      <dgm:prSet/>
      <dgm:spPr/>
      <dgm:t>
        <a:bodyPr/>
        <a:lstStyle/>
        <a:p>
          <a:endParaRPr lang="fr-FR"/>
        </a:p>
      </dgm:t>
    </dgm:pt>
    <dgm:pt modelId="{212FD9A5-8C27-4386-AC53-A5164E7FF34B}">
      <dgm:prSet phldrT="[Texte]"/>
      <dgm:spPr/>
      <dgm:t>
        <a:bodyPr/>
        <a:lstStyle/>
        <a:p>
          <a:r>
            <a:rPr lang="fr-FR" dirty="0"/>
            <a:t>Semi remorques, caisses mobiles, minerai, remorques</a:t>
          </a:r>
        </a:p>
      </dgm:t>
    </dgm:pt>
    <dgm:pt modelId="{E2E5186E-2144-457A-B556-A79E61709891}" type="parTrans" cxnId="{1A910AA0-BE72-4C87-B19B-A8523B8F10CA}">
      <dgm:prSet/>
      <dgm:spPr/>
      <dgm:t>
        <a:bodyPr/>
        <a:lstStyle/>
        <a:p>
          <a:endParaRPr lang="fr-FR"/>
        </a:p>
      </dgm:t>
    </dgm:pt>
    <dgm:pt modelId="{F9D9C174-86E9-4BEC-84DE-D86B7156AFE6}" type="sibTrans" cxnId="{1A910AA0-BE72-4C87-B19B-A8523B8F10CA}">
      <dgm:prSet/>
      <dgm:spPr/>
      <dgm:t>
        <a:bodyPr/>
        <a:lstStyle/>
        <a:p>
          <a:endParaRPr lang="fr-FR"/>
        </a:p>
      </dgm:t>
    </dgm:pt>
    <dgm:pt modelId="{468DD21C-62EC-4F3B-9CE7-4D2667B63112}">
      <dgm:prSet phldrT="[Texte]"/>
      <dgm:spPr/>
      <dgm:t>
        <a:bodyPr/>
        <a:lstStyle/>
        <a:p>
          <a:r>
            <a:rPr lang="fr-FR" dirty="0"/>
            <a:t> « Work zone »</a:t>
          </a:r>
        </a:p>
      </dgm:t>
    </dgm:pt>
    <dgm:pt modelId="{F780D5CB-103C-4A3D-BCE3-2405321EF5A5}" type="parTrans" cxnId="{00B5EC4E-6097-4AC7-BEBE-FE2707711677}">
      <dgm:prSet/>
      <dgm:spPr/>
      <dgm:t>
        <a:bodyPr/>
        <a:lstStyle/>
        <a:p>
          <a:endParaRPr lang="fr-FR"/>
        </a:p>
      </dgm:t>
    </dgm:pt>
    <dgm:pt modelId="{D45108D2-F7C1-4E3D-BFAA-01D23C40C50D}" type="sibTrans" cxnId="{00B5EC4E-6097-4AC7-BEBE-FE2707711677}">
      <dgm:prSet/>
      <dgm:spPr/>
      <dgm:t>
        <a:bodyPr/>
        <a:lstStyle/>
        <a:p>
          <a:endParaRPr lang="fr-FR"/>
        </a:p>
      </dgm:t>
    </dgm:pt>
    <dgm:pt modelId="{C412D6F4-0B9C-47EA-B078-A672FEDBE284}">
      <dgm:prSet phldrT="[Texte]"/>
      <dgm:spPr/>
      <dgm:t>
        <a:bodyPr/>
        <a:lstStyle/>
        <a:p>
          <a:r>
            <a:rPr lang="fr-FR" dirty="0"/>
            <a:t>Tracteurs (de cour, de parc, à bagage)</a:t>
          </a:r>
        </a:p>
      </dgm:t>
    </dgm:pt>
    <dgm:pt modelId="{4568B1B8-6B96-42C6-B166-A8A8D6277D8E}" type="parTrans" cxnId="{CEE0C2F6-4EA0-4DB3-B188-D761682DE52A}">
      <dgm:prSet/>
      <dgm:spPr/>
      <dgm:t>
        <a:bodyPr/>
        <a:lstStyle/>
        <a:p>
          <a:endParaRPr lang="fr-FR"/>
        </a:p>
      </dgm:t>
    </dgm:pt>
    <dgm:pt modelId="{F760B6E9-DF6A-41AE-9F41-54A6EF9D724C}" type="sibTrans" cxnId="{CEE0C2F6-4EA0-4DB3-B188-D761682DE52A}">
      <dgm:prSet/>
      <dgm:spPr/>
      <dgm:t>
        <a:bodyPr/>
        <a:lstStyle/>
        <a:p>
          <a:endParaRPr lang="fr-FR"/>
        </a:p>
      </dgm:t>
    </dgm:pt>
    <dgm:pt modelId="{DD156BA2-7344-499F-A074-72023A8AD258}">
      <dgm:prSet/>
      <dgm:spPr/>
      <dgm:t>
        <a:bodyPr/>
        <a:lstStyle/>
        <a:p>
          <a:r>
            <a:rPr lang="fr-FR" dirty="0"/>
            <a:t>Transport de marchandises sur des moyennes et longues distances en mixité (possible supervision)</a:t>
          </a:r>
        </a:p>
      </dgm:t>
    </dgm:pt>
    <dgm:pt modelId="{DB928AE2-7313-44A6-BF52-0698C3FB5D98}" type="parTrans" cxnId="{AB7E8DC4-CCAC-4417-AD74-C7EF393ADABF}">
      <dgm:prSet/>
      <dgm:spPr/>
      <dgm:t>
        <a:bodyPr/>
        <a:lstStyle/>
        <a:p>
          <a:endParaRPr lang="fr-FR"/>
        </a:p>
      </dgm:t>
    </dgm:pt>
    <dgm:pt modelId="{19A3FA3F-92E0-4FAC-AB33-5F2235EE83DC}" type="sibTrans" cxnId="{AB7E8DC4-CCAC-4417-AD74-C7EF393ADABF}">
      <dgm:prSet/>
      <dgm:spPr/>
      <dgm:t>
        <a:bodyPr/>
        <a:lstStyle/>
        <a:p>
          <a:endParaRPr lang="fr-FR"/>
        </a:p>
      </dgm:t>
    </dgm:pt>
    <dgm:pt modelId="{30BB6088-B009-4E35-A761-035F4DBFF7E4}">
      <dgm:prSet/>
      <dgm:spPr/>
      <dgm:t>
        <a:bodyPr/>
        <a:lstStyle/>
        <a:p>
          <a:r>
            <a:rPr lang="fr-FR" dirty="0"/>
            <a:t>Tracteurs routier</a:t>
          </a:r>
        </a:p>
      </dgm:t>
    </dgm:pt>
    <dgm:pt modelId="{4F73076A-90B3-45A3-976A-BCA8549A7D2E}" type="parTrans" cxnId="{9F4BBB71-6E54-469A-BE61-C679D60A4F93}">
      <dgm:prSet/>
      <dgm:spPr/>
      <dgm:t>
        <a:bodyPr/>
        <a:lstStyle/>
        <a:p>
          <a:endParaRPr lang="fr-FR"/>
        </a:p>
      </dgm:t>
    </dgm:pt>
    <dgm:pt modelId="{4B1F706B-0A5A-4D89-A6C2-1A4457550B94}" type="sibTrans" cxnId="{9F4BBB71-6E54-469A-BE61-C679D60A4F93}">
      <dgm:prSet/>
      <dgm:spPr/>
      <dgm:t>
        <a:bodyPr/>
        <a:lstStyle/>
        <a:p>
          <a:endParaRPr lang="fr-FR"/>
        </a:p>
      </dgm:t>
    </dgm:pt>
    <dgm:pt modelId="{28AE514A-A4AE-473C-AE40-463D68C2E8AF}">
      <dgm:prSet/>
      <dgm:spPr/>
      <dgm:t>
        <a:bodyPr/>
        <a:lstStyle/>
        <a:p>
          <a:r>
            <a:rPr lang="fr-FR" dirty="0"/>
            <a:t>semi remorques, caisses mobiles</a:t>
          </a:r>
          <a:endParaRPr lang="fr-FR" b="1" dirty="0"/>
        </a:p>
      </dgm:t>
    </dgm:pt>
    <dgm:pt modelId="{E24C8749-9698-48D4-AEDF-6CDEF7314ABE}" type="parTrans" cxnId="{8B7CC228-9251-4B9E-BC5C-99673293FB6D}">
      <dgm:prSet/>
      <dgm:spPr/>
      <dgm:t>
        <a:bodyPr/>
        <a:lstStyle/>
        <a:p>
          <a:endParaRPr lang="fr-FR"/>
        </a:p>
      </dgm:t>
    </dgm:pt>
    <dgm:pt modelId="{2BA98718-29C5-4F5C-86F9-47E884D349B0}" type="sibTrans" cxnId="{8B7CC228-9251-4B9E-BC5C-99673293FB6D}">
      <dgm:prSet/>
      <dgm:spPr/>
      <dgm:t>
        <a:bodyPr/>
        <a:lstStyle/>
        <a:p>
          <a:endParaRPr lang="fr-FR"/>
        </a:p>
      </dgm:t>
    </dgm:pt>
    <dgm:pt modelId="{BE2CD087-A224-46FA-9BD0-5BB3C2E8E29E}">
      <dgm:prSet/>
      <dgm:spPr/>
      <dgm:t>
        <a:bodyPr/>
        <a:lstStyle/>
        <a:p>
          <a:r>
            <a:rPr lang="fr-FR" dirty="0"/>
            <a:t>Faibles volumes (~1m</a:t>
          </a:r>
          <a:r>
            <a:rPr lang="fr-FR" baseline="30000" dirty="0"/>
            <a:t>3</a:t>
          </a:r>
          <a:r>
            <a:rPr lang="fr-FR" dirty="0"/>
            <a:t>) en interaction avec UV et supervisé</a:t>
          </a:r>
        </a:p>
      </dgm:t>
    </dgm:pt>
    <dgm:pt modelId="{322F5C69-D80D-4D1F-BE0C-C2ED27BCE57C}" type="parTrans" cxnId="{4BA31272-BA30-4827-81F5-A33CB77B5866}">
      <dgm:prSet/>
      <dgm:spPr/>
      <dgm:t>
        <a:bodyPr/>
        <a:lstStyle/>
        <a:p>
          <a:endParaRPr lang="fr-FR"/>
        </a:p>
      </dgm:t>
    </dgm:pt>
    <dgm:pt modelId="{47ABC2A2-6387-4BAD-A110-8FFF085562D2}" type="sibTrans" cxnId="{4BA31272-BA30-4827-81F5-A33CB77B5866}">
      <dgm:prSet/>
      <dgm:spPr/>
      <dgm:t>
        <a:bodyPr/>
        <a:lstStyle/>
        <a:p>
          <a:endParaRPr lang="fr-FR"/>
        </a:p>
      </dgm:t>
    </dgm:pt>
    <dgm:pt modelId="{4EEAD020-E9E0-4D3D-B3BD-75B4748FC326}">
      <dgm:prSet/>
      <dgm:spPr/>
      <dgm:t>
        <a:bodyPr/>
        <a:lstStyle/>
        <a:p>
          <a:r>
            <a:rPr lang="fr-FR" dirty="0"/>
            <a:t>Unités Logistiques Intermodales Standard</a:t>
          </a:r>
        </a:p>
      </dgm:t>
    </dgm:pt>
    <dgm:pt modelId="{94E4C3F8-D163-4506-986A-4D1692CAC27A}" type="parTrans" cxnId="{C119C1B2-0F06-4093-A56B-01ACE452E5FD}">
      <dgm:prSet/>
      <dgm:spPr/>
      <dgm:t>
        <a:bodyPr/>
        <a:lstStyle/>
        <a:p>
          <a:endParaRPr lang="fr-FR"/>
        </a:p>
      </dgm:t>
    </dgm:pt>
    <dgm:pt modelId="{93931B5C-75B6-4DAC-AD4D-939D82C1668B}" type="sibTrans" cxnId="{C119C1B2-0F06-4093-A56B-01ACE452E5FD}">
      <dgm:prSet/>
      <dgm:spPr/>
      <dgm:t>
        <a:bodyPr/>
        <a:lstStyle/>
        <a:p>
          <a:endParaRPr lang="fr-FR"/>
        </a:p>
      </dgm:t>
    </dgm:pt>
    <dgm:pt modelId="{BF8EDA7F-2044-4B58-B0A8-E7D3595D9E92}">
      <dgm:prSet/>
      <dgm:spPr/>
      <dgm:t>
        <a:bodyPr/>
        <a:lstStyle/>
        <a:p>
          <a:r>
            <a:rPr lang="fr-FR" dirty="0"/>
            <a:t>Droïdes logistiques automatisés, VUL (N1, N2)</a:t>
          </a:r>
        </a:p>
      </dgm:t>
    </dgm:pt>
    <dgm:pt modelId="{251F412D-6876-49A1-9B10-04131E84C7E8}" type="sibTrans" cxnId="{09A85915-1992-4E5B-B4B4-96BB1C34D75F}">
      <dgm:prSet/>
      <dgm:spPr/>
      <dgm:t>
        <a:bodyPr/>
        <a:lstStyle/>
        <a:p>
          <a:endParaRPr lang="fr-FR"/>
        </a:p>
      </dgm:t>
    </dgm:pt>
    <dgm:pt modelId="{AC9FA5C9-20D2-4091-8305-724E4CEC2553}" type="parTrans" cxnId="{09A85915-1992-4E5B-B4B4-96BB1C34D75F}">
      <dgm:prSet/>
      <dgm:spPr/>
      <dgm:t>
        <a:bodyPr/>
        <a:lstStyle/>
        <a:p>
          <a:endParaRPr lang="fr-FR"/>
        </a:p>
      </dgm:t>
    </dgm:pt>
    <dgm:pt modelId="{04450906-AE99-4395-92E2-896778CBE697}">
      <dgm:prSet phldrT="[Texte]"/>
      <dgm:spPr/>
      <dgm:t>
        <a:bodyPr/>
        <a:lstStyle/>
        <a:p>
          <a:r>
            <a:rPr lang="fr-FR" dirty="0"/>
            <a:t>Charges lourdes en environnement maîtrisé et supervisé</a:t>
          </a:r>
        </a:p>
      </dgm:t>
    </dgm:pt>
    <dgm:pt modelId="{CA95215C-23A7-4C0A-AD57-ACB47E53D48F}" type="parTrans" cxnId="{B93060BD-2D3E-4CEA-926A-F15C787959D9}">
      <dgm:prSet/>
      <dgm:spPr/>
      <dgm:t>
        <a:bodyPr/>
        <a:lstStyle/>
        <a:p>
          <a:endParaRPr lang="fr-FR"/>
        </a:p>
      </dgm:t>
    </dgm:pt>
    <dgm:pt modelId="{2CF1FC9B-5A2C-439F-AFE3-3EC13576AAF9}" type="sibTrans" cxnId="{B93060BD-2D3E-4CEA-926A-F15C787959D9}">
      <dgm:prSet/>
      <dgm:spPr/>
      <dgm:t>
        <a:bodyPr/>
        <a:lstStyle/>
        <a:p>
          <a:endParaRPr lang="fr-FR"/>
        </a:p>
      </dgm:t>
    </dgm:pt>
    <dgm:pt modelId="{146B36C4-C448-49BF-A197-333D1731326F}">
      <dgm:prSet phldrT="[Texte]"/>
      <dgm:spPr/>
      <dgm:t>
        <a:bodyPr/>
        <a:lstStyle/>
        <a:p>
          <a:r>
            <a:rPr lang="fr-FR" dirty="0"/>
            <a:t>Site fermé (logistique,  aéroport, port, mines, carrières, industriel)</a:t>
          </a:r>
        </a:p>
      </dgm:t>
    </dgm:pt>
    <dgm:pt modelId="{39F5244C-AABE-4E6A-9454-E59B2A5B7C3F}" type="parTrans" cxnId="{9BDD2F80-E7A9-4C9C-9F82-131BF75B8E3C}">
      <dgm:prSet/>
      <dgm:spPr/>
      <dgm:t>
        <a:bodyPr/>
        <a:lstStyle/>
        <a:p>
          <a:endParaRPr lang="fr-FR"/>
        </a:p>
      </dgm:t>
    </dgm:pt>
    <dgm:pt modelId="{4C456D5E-DE64-4F1A-9317-528194502030}" type="sibTrans" cxnId="{9BDD2F80-E7A9-4C9C-9F82-131BF75B8E3C}">
      <dgm:prSet/>
      <dgm:spPr/>
      <dgm:t>
        <a:bodyPr/>
        <a:lstStyle/>
        <a:p>
          <a:endParaRPr lang="fr-FR"/>
        </a:p>
      </dgm:t>
    </dgm:pt>
    <dgm:pt modelId="{E6EAF6BF-67F9-48B4-BF02-204EE739AAD5}">
      <dgm:prSet phldrT="[Texte]"/>
      <dgm:spPr/>
      <dgm:t>
        <a:bodyPr/>
        <a:lstStyle/>
        <a:p>
          <a:r>
            <a:rPr lang="fr-FR" dirty="0"/>
            <a:t>Logistique urbaine</a:t>
          </a:r>
        </a:p>
      </dgm:t>
    </dgm:pt>
    <dgm:pt modelId="{C00DAF2D-1655-4F0A-A48A-F232D47E701A}" type="parTrans" cxnId="{940AFFE3-E3C0-4AC3-958C-E5D1BA62C1AD}">
      <dgm:prSet/>
      <dgm:spPr/>
      <dgm:t>
        <a:bodyPr/>
        <a:lstStyle/>
        <a:p>
          <a:endParaRPr lang="fr-FR"/>
        </a:p>
      </dgm:t>
    </dgm:pt>
    <dgm:pt modelId="{696B765F-C054-4080-B41B-F1502F3F254B}" type="sibTrans" cxnId="{940AFFE3-E3C0-4AC3-958C-E5D1BA62C1AD}">
      <dgm:prSet/>
      <dgm:spPr/>
      <dgm:t>
        <a:bodyPr/>
        <a:lstStyle/>
        <a:p>
          <a:endParaRPr lang="fr-FR"/>
        </a:p>
      </dgm:t>
    </dgm:pt>
    <dgm:pt modelId="{72E45CD7-C630-4B48-872E-88D9433820F4}">
      <dgm:prSet phldrT="[Texte]"/>
      <dgm:spPr/>
      <dgm:t>
        <a:bodyPr/>
        <a:lstStyle/>
        <a:p>
          <a:r>
            <a:rPr lang="fr-FR" dirty="0"/>
            <a:t>Transport moyen et longue distance</a:t>
          </a:r>
        </a:p>
      </dgm:t>
    </dgm:pt>
    <dgm:pt modelId="{0C3F4AD9-5D6B-4147-9B28-71B64512F94F}" type="parTrans" cxnId="{054BF832-E2B8-4FA1-B0BC-C5ABE25EA84B}">
      <dgm:prSet/>
      <dgm:spPr/>
      <dgm:t>
        <a:bodyPr/>
        <a:lstStyle/>
        <a:p>
          <a:endParaRPr lang="fr-FR"/>
        </a:p>
      </dgm:t>
    </dgm:pt>
    <dgm:pt modelId="{4CD2C5DC-0ED4-403A-BDAB-3822C4647FD7}" type="sibTrans" cxnId="{054BF832-E2B8-4FA1-B0BC-C5ABE25EA84B}">
      <dgm:prSet/>
      <dgm:spPr/>
      <dgm:t>
        <a:bodyPr/>
        <a:lstStyle/>
        <a:p>
          <a:endParaRPr lang="fr-FR"/>
        </a:p>
      </dgm:t>
    </dgm:pt>
    <dgm:pt modelId="{43CBF117-C00B-43D4-8A71-45C9BAE2204E}" type="pres">
      <dgm:prSet presAssocID="{8FB57CE9-0E93-47F4-B9E7-03836769FB5F}" presName="Name0" presStyleCnt="0">
        <dgm:presLayoutVars>
          <dgm:dir/>
          <dgm:animLvl val="lvl"/>
          <dgm:resizeHandles val="exact"/>
        </dgm:presLayoutVars>
      </dgm:prSet>
      <dgm:spPr/>
    </dgm:pt>
    <dgm:pt modelId="{1A68AA51-AA7C-4EC4-BE11-825F8EEAFED5}" type="pres">
      <dgm:prSet presAssocID="{468DD21C-62EC-4F3B-9CE7-4D2667B63112}" presName="composite" presStyleCnt="0"/>
      <dgm:spPr/>
    </dgm:pt>
    <dgm:pt modelId="{A6022594-A554-4450-85EC-B60A320C94B4}" type="pres">
      <dgm:prSet presAssocID="{468DD21C-62EC-4F3B-9CE7-4D2667B63112}" presName="parTx" presStyleLbl="alignNode1" presStyleIdx="0" presStyleCnt="3" custScaleY="111748" custLinFactNeighborY="5773">
        <dgm:presLayoutVars>
          <dgm:chMax val="0"/>
          <dgm:chPref val="0"/>
          <dgm:bulletEnabled val="1"/>
        </dgm:presLayoutVars>
      </dgm:prSet>
      <dgm:spPr/>
    </dgm:pt>
    <dgm:pt modelId="{7A03C77D-844A-4362-9D9B-20F58960A280}" type="pres">
      <dgm:prSet presAssocID="{468DD21C-62EC-4F3B-9CE7-4D2667B63112}" presName="desTx" presStyleLbl="alignAccFollowNode1" presStyleIdx="0" presStyleCnt="3">
        <dgm:presLayoutVars>
          <dgm:bulletEnabled val="1"/>
        </dgm:presLayoutVars>
      </dgm:prSet>
      <dgm:spPr/>
    </dgm:pt>
    <dgm:pt modelId="{B4158407-C071-4EE1-A0BA-E3FCDCF3A4E8}" type="pres">
      <dgm:prSet presAssocID="{D45108D2-F7C1-4E3D-BFAA-01D23C40C50D}" presName="space" presStyleCnt="0"/>
      <dgm:spPr/>
    </dgm:pt>
    <dgm:pt modelId="{D133A6B7-425B-4122-99C9-BEF93DF0084A}" type="pres">
      <dgm:prSet presAssocID="{E6EAF6BF-67F9-48B4-BF02-204EE739AAD5}" presName="composite" presStyleCnt="0"/>
      <dgm:spPr/>
    </dgm:pt>
    <dgm:pt modelId="{264B2599-A79F-4156-A7BF-F97B1AFAEE17}" type="pres">
      <dgm:prSet presAssocID="{E6EAF6BF-67F9-48B4-BF02-204EE739AAD5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B155AF91-3645-41EA-B45C-20172BFD1C25}" type="pres">
      <dgm:prSet presAssocID="{E6EAF6BF-67F9-48B4-BF02-204EE739AAD5}" presName="desTx" presStyleLbl="alignAccFollowNode1" presStyleIdx="1" presStyleCnt="3">
        <dgm:presLayoutVars>
          <dgm:bulletEnabled val="1"/>
        </dgm:presLayoutVars>
      </dgm:prSet>
      <dgm:spPr/>
    </dgm:pt>
    <dgm:pt modelId="{240C2EA6-BC95-4C76-A327-6C1BEAD2471F}" type="pres">
      <dgm:prSet presAssocID="{696B765F-C054-4080-B41B-F1502F3F254B}" presName="space" presStyleCnt="0"/>
      <dgm:spPr/>
    </dgm:pt>
    <dgm:pt modelId="{D7E205A1-31EB-4AA7-A2ED-133177654C2D}" type="pres">
      <dgm:prSet presAssocID="{72E45CD7-C630-4B48-872E-88D9433820F4}" presName="composite" presStyleCnt="0"/>
      <dgm:spPr/>
    </dgm:pt>
    <dgm:pt modelId="{ECFA5B11-B926-430A-99F5-BD55A7DA942E}" type="pres">
      <dgm:prSet presAssocID="{72E45CD7-C630-4B48-872E-88D9433820F4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B58E5D71-8CF3-4437-B8D0-A4D6F1491DB0}" type="pres">
      <dgm:prSet presAssocID="{72E45CD7-C630-4B48-872E-88D9433820F4}" presName="desTx" presStyleLbl="alignAccFollowNode1" presStyleIdx="2" presStyleCnt="3" custLinFactNeighborX="-861">
        <dgm:presLayoutVars>
          <dgm:bulletEnabled val="1"/>
        </dgm:presLayoutVars>
      </dgm:prSet>
      <dgm:spPr/>
    </dgm:pt>
  </dgm:ptLst>
  <dgm:cxnLst>
    <dgm:cxn modelId="{716EFD07-9EC9-4F5D-828C-B5B57F56E005}" type="presOf" srcId="{212FD9A5-8C27-4386-AC53-A5164E7FF34B}" destId="{7A03C77D-844A-4362-9D9B-20F58960A280}" srcOrd="0" destOrd="3" presId="urn:microsoft.com/office/officeart/2005/8/layout/hList1"/>
    <dgm:cxn modelId="{90E86209-8450-4F3B-B32D-BFB1203B590F}" type="presOf" srcId="{04450906-AE99-4395-92E2-896778CBE697}" destId="{7A03C77D-844A-4362-9D9B-20F58960A280}" srcOrd="0" destOrd="1" presId="urn:microsoft.com/office/officeart/2005/8/layout/hList1"/>
    <dgm:cxn modelId="{6E302A0A-BED2-4CF6-9FD5-A90512883D51}" type="presOf" srcId="{72E45CD7-C630-4B48-872E-88D9433820F4}" destId="{ECFA5B11-B926-430A-99F5-BD55A7DA942E}" srcOrd="0" destOrd="0" presId="urn:microsoft.com/office/officeart/2005/8/layout/hList1"/>
    <dgm:cxn modelId="{09A85915-1992-4E5B-B4B4-96BB1C34D75F}" srcId="{E6EAF6BF-67F9-48B4-BF02-204EE739AAD5}" destId="{BF8EDA7F-2044-4B58-B0A8-E7D3595D9E92}" srcOrd="2" destOrd="0" parTransId="{AC9FA5C9-20D2-4091-8305-724E4CEC2553}" sibTransId="{251F412D-6876-49A1-9B10-04131E84C7E8}"/>
    <dgm:cxn modelId="{04A21A1E-CC7E-4407-979F-9C6DF17FED28}" type="presOf" srcId="{30BB6088-B009-4E35-A761-035F4DBFF7E4}" destId="{B58E5D71-8CF3-4437-B8D0-A4D6F1491DB0}" srcOrd="0" destOrd="2" presId="urn:microsoft.com/office/officeart/2005/8/layout/hList1"/>
    <dgm:cxn modelId="{94087824-477B-4847-8242-39D459EE7896}" srcId="{E6EAF6BF-67F9-48B4-BF02-204EE739AAD5}" destId="{73A9D5DF-BC9F-4309-9885-EE17DB348CD7}" srcOrd="0" destOrd="0" parTransId="{A95933B7-3140-48BA-93A2-A86487D5900C}" sibTransId="{8BCE053F-029B-4A90-9545-B108C75B6117}"/>
    <dgm:cxn modelId="{AF109B25-7DA0-41AE-B9BE-F9105D8543CB}" type="presOf" srcId="{73A9D5DF-BC9F-4309-9885-EE17DB348CD7}" destId="{B155AF91-3645-41EA-B45C-20172BFD1C25}" srcOrd="0" destOrd="0" presId="urn:microsoft.com/office/officeart/2005/8/layout/hList1"/>
    <dgm:cxn modelId="{8B7CC228-9251-4B9E-BC5C-99673293FB6D}" srcId="{72E45CD7-C630-4B48-872E-88D9433820F4}" destId="{28AE514A-A4AE-473C-AE40-463D68C2E8AF}" srcOrd="3" destOrd="0" parTransId="{E24C8749-9698-48D4-AEDF-6CDEF7314ABE}" sibTransId="{2BA98718-29C5-4F5C-86F9-47E884D349B0}"/>
    <dgm:cxn modelId="{4840AC31-B2C6-4BB7-9D71-169E094E4D67}" type="presOf" srcId="{EAD7121B-52DD-457B-AE8D-817F11024AB6}" destId="{B58E5D71-8CF3-4437-B8D0-A4D6F1491DB0}" srcOrd="0" destOrd="0" presId="urn:microsoft.com/office/officeart/2005/8/layout/hList1"/>
    <dgm:cxn modelId="{054BF832-E2B8-4FA1-B0BC-C5ABE25EA84B}" srcId="{8FB57CE9-0E93-47F4-B9E7-03836769FB5F}" destId="{72E45CD7-C630-4B48-872E-88D9433820F4}" srcOrd="2" destOrd="0" parTransId="{0C3F4AD9-5D6B-4147-9B28-71B64512F94F}" sibTransId="{4CD2C5DC-0ED4-403A-BDAB-3822C4647FD7}"/>
    <dgm:cxn modelId="{7C2DC33A-C51C-4FC5-9F89-B1344E49778C}" type="presOf" srcId="{4EEAD020-E9E0-4D3D-B3BD-75B4748FC326}" destId="{B155AF91-3645-41EA-B45C-20172BFD1C25}" srcOrd="0" destOrd="3" presId="urn:microsoft.com/office/officeart/2005/8/layout/hList1"/>
    <dgm:cxn modelId="{00B5EC4E-6097-4AC7-BEBE-FE2707711677}" srcId="{8FB57CE9-0E93-47F4-B9E7-03836769FB5F}" destId="{468DD21C-62EC-4F3B-9CE7-4D2667B63112}" srcOrd="0" destOrd="0" parTransId="{F780D5CB-103C-4A3D-BCE3-2405321EF5A5}" sibTransId="{D45108D2-F7C1-4E3D-BFAA-01D23C40C50D}"/>
    <dgm:cxn modelId="{FBD59458-89FA-4347-9BE4-FE820A178DD4}" type="presOf" srcId="{DD156BA2-7344-499F-A074-72023A8AD258}" destId="{B58E5D71-8CF3-4437-B8D0-A4D6F1491DB0}" srcOrd="0" destOrd="1" presId="urn:microsoft.com/office/officeart/2005/8/layout/hList1"/>
    <dgm:cxn modelId="{9F4BBB71-6E54-469A-BE61-C679D60A4F93}" srcId="{72E45CD7-C630-4B48-872E-88D9433820F4}" destId="{30BB6088-B009-4E35-A761-035F4DBFF7E4}" srcOrd="2" destOrd="0" parTransId="{4F73076A-90B3-45A3-976A-BCA8549A7D2E}" sibTransId="{4B1F706B-0A5A-4D89-A6C2-1A4457550B94}"/>
    <dgm:cxn modelId="{4BA31272-BA30-4827-81F5-A33CB77B5866}" srcId="{E6EAF6BF-67F9-48B4-BF02-204EE739AAD5}" destId="{BE2CD087-A224-46FA-9BD0-5BB3C2E8E29E}" srcOrd="1" destOrd="0" parTransId="{322F5C69-D80D-4D1F-BE0C-C2ED27BCE57C}" sibTransId="{47ABC2A2-6387-4BAD-A110-8FFF085562D2}"/>
    <dgm:cxn modelId="{8D441174-4429-4553-8235-888059E41EE9}" type="presOf" srcId="{E6EAF6BF-67F9-48B4-BF02-204EE739AAD5}" destId="{264B2599-A79F-4156-A7BF-F97B1AFAEE17}" srcOrd="0" destOrd="0" presId="urn:microsoft.com/office/officeart/2005/8/layout/hList1"/>
    <dgm:cxn modelId="{C4E92E75-9F12-4001-BEAC-9C155EC10F06}" type="presOf" srcId="{C412D6F4-0B9C-47EA-B078-A672FEDBE284}" destId="{7A03C77D-844A-4362-9D9B-20F58960A280}" srcOrd="0" destOrd="2" presId="urn:microsoft.com/office/officeart/2005/8/layout/hList1"/>
    <dgm:cxn modelId="{9BDD2F80-E7A9-4C9C-9F82-131BF75B8E3C}" srcId="{468DD21C-62EC-4F3B-9CE7-4D2667B63112}" destId="{146B36C4-C448-49BF-A197-333D1731326F}" srcOrd="0" destOrd="0" parTransId="{39F5244C-AABE-4E6A-9454-E59B2A5B7C3F}" sibTransId="{4C456D5E-DE64-4F1A-9317-528194502030}"/>
    <dgm:cxn modelId="{1A910AA0-BE72-4C87-B19B-A8523B8F10CA}" srcId="{468DD21C-62EC-4F3B-9CE7-4D2667B63112}" destId="{212FD9A5-8C27-4386-AC53-A5164E7FF34B}" srcOrd="3" destOrd="0" parTransId="{E2E5186E-2144-457A-B556-A79E61709891}" sibTransId="{F9D9C174-86E9-4BEC-84DE-D86B7156AFE6}"/>
    <dgm:cxn modelId="{A2028BA5-2F12-4579-AA17-09341906F074}" type="presOf" srcId="{28AE514A-A4AE-473C-AE40-463D68C2E8AF}" destId="{B58E5D71-8CF3-4437-B8D0-A4D6F1491DB0}" srcOrd="0" destOrd="3" presId="urn:microsoft.com/office/officeart/2005/8/layout/hList1"/>
    <dgm:cxn modelId="{C119C1B2-0F06-4093-A56B-01ACE452E5FD}" srcId="{E6EAF6BF-67F9-48B4-BF02-204EE739AAD5}" destId="{4EEAD020-E9E0-4D3D-B3BD-75B4748FC326}" srcOrd="3" destOrd="0" parTransId="{94E4C3F8-D163-4506-986A-4D1692CAC27A}" sibTransId="{93931B5C-75B6-4DAC-AD4D-939D82C1668B}"/>
    <dgm:cxn modelId="{C474F4B4-761D-4733-B9D1-9F55E9A63361}" type="presOf" srcId="{8FB57CE9-0E93-47F4-B9E7-03836769FB5F}" destId="{43CBF117-C00B-43D4-8A71-45C9BAE2204E}" srcOrd="0" destOrd="0" presId="urn:microsoft.com/office/officeart/2005/8/layout/hList1"/>
    <dgm:cxn modelId="{15C345BD-121B-43BC-87A2-2156D5050A91}" type="presOf" srcId="{BF8EDA7F-2044-4B58-B0A8-E7D3595D9E92}" destId="{B155AF91-3645-41EA-B45C-20172BFD1C25}" srcOrd="0" destOrd="2" presId="urn:microsoft.com/office/officeart/2005/8/layout/hList1"/>
    <dgm:cxn modelId="{B93060BD-2D3E-4CEA-926A-F15C787959D9}" srcId="{468DD21C-62EC-4F3B-9CE7-4D2667B63112}" destId="{04450906-AE99-4395-92E2-896778CBE697}" srcOrd="1" destOrd="0" parTransId="{CA95215C-23A7-4C0A-AD57-ACB47E53D48F}" sibTransId="{2CF1FC9B-5A2C-439F-AFE3-3EC13576AAF9}"/>
    <dgm:cxn modelId="{0C1089BE-F9E6-4617-8128-46EBBDA6DAA7}" type="presOf" srcId="{BE2CD087-A224-46FA-9BD0-5BB3C2E8E29E}" destId="{B155AF91-3645-41EA-B45C-20172BFD1C25}" srcOrd="0" destOrd="1" presId="urn:microsoft.com/office/officeart/2005/8/layout/hList1"/>
    <dgm:cxn modelId="{AB7E8DC4-CCAC-4417-AD74-C7EF393ADABF}" srcId="{72E45CD7-C630-4B48-872E-88D9433820F4}" destId="{DD156BA2-7344-499F-A074-72023A8AD258}" srcOrd="1" destOrd="0" parTransId="{DB928AE2-7313-44A6-BF52-0698C3FB5D98}" sibTransId="{19A3FA3F-92E0-4FAC-AB33-5F2235EE83DC}"/>
    <dgm:cxn modelId="{4745A0DE-A507-457A-9319-954FEBBE286C}" type="presOf" srcId="{146B36C4-C448-49BF-A197-333D1731326F}" destId="{7A03C77D-844A-4362-9D9B-20F58960A280}" srcOrd="0" destOrd="0" presId="urn:microsoft.com/office/officeart/2005/8/layout/hList1"/>
    <dgm:cxn modelId="{940AFFE3-E3C0-4AC3-958C-E5D1BA62C1AD}" srcId="{8FB57CE9-0E93-47F4-B9E7-03836769FB5F}" destId="{E6EAF6BF-67F9-48B4-BF02-204EE739AAD5}" srcOrd="1" destOrd="0" parTransId="{C00DAF2D-1655-4F0A-A48A-F232D47E701A}" sibTransId="{696B765F-C054-4080-B41B-F1502F3F254B}"/>
    <dgm:cxn modelId="{9E8468F1-7A27-4340-87D7-669832002AAA}" type="presOf" srcId="{468DD21C-62EC-4F3B-9CE7-4D2667B63112}" destId="{A6022594-A554-4450-85EC-B60A320C94B4}" srcOrd="0" destOrd="0" presId="urn:microsoft.com/office/officeart/2005/8/layout/hList1"/>
    <dgm:cxn modelId="{CEE0C2F6-4EA0-4DB3-B188-D761682DE52A}" srcId="{468DD21C-62EC-4F3B-9CE7-4D2667B63112}" destId="{C412D6F4-0B9C-47EA-B078-A672FEDBE284}" srcOrd="2" destOrd="0" parTransId="{4568B1B8-6B96-42C6-B166-A8A8D6277D8E}" sibTransId="{F760B6E9-DF6A-41AE-9F41-54A6EF9D724C}"/>
    <dgm:cxn modelId="{84BACCF8-8CA3-48A0-805B-E9B145CAB510}" srcId="{72E45CD7-C630-4B48-872E-88D9433820F4}" destId="{EAD7121B-52DD-457B-AE8D-817F11024AB6}" srcOrd="0" destOrd="0" parTransId="{D708973B-E1CC-4ACB-B4C4-3B3DA671517C}" sibTransId="{231B7215-6213-4DC8-A6FA-6D89FEBD928B}"/>
    <dgm:cxn modelId="{3B54AFC2-2CD5-47FD-A994-949040029461}" type="presParOf" srcId="{43CBF117-C00B-43D4-8A71-45C9BAE2204E}" destId="{1A68AA51-AA7C-4EC4-BE11-825F8EEAFED5}" srcOrd="0" destOrd="0" presId="urn:microsoft.com/office/officeart/2005/8/layout/hList1"/>
    <dgm:cxn modelId="{CCE7368E-248F-4958-BF6A-91D59C9235C4}" type="presParOf" srcId="{1A68AA51-AA7C-4EC4-BE11-825F8EEAFED5}" destId="{A6022594-A554-4450-85EC-B60A320C94B4}" srcOrd="0" destOrd="0" presId="urn:microsoft.com/office/officeart/2005/8/layout/hList1"/>
    <dgm:cxn modelId="{A42D3030-0C4D-4F14-BD84-1B4A9044BA4C}" type="presParOf" srcId="{1A68AA51-AA7C-4EC4-BE11-825F8EEAFED5}" destId="{7A03C77D-844A-4362-9D9B-20F58960A280}" srcOrd="1" destOrd="0" presId="urn:microsoft.com/office/officeart/2005/8/layout/hList1"/>
    <dgm:cxn modelId="{62CDE67C-D862-4A51-BBEC-73C66A2CB71E}" type="presParOf" srcId="{43CBF117-C00B-43D4-8A71-45C9BAE2204E}" destId="{B4158407-C071-4EE1-A0BA-E3FCDCF3A4E8}" srcOrd="1" destOrd="0" presId="urn:microsoft.com/office/officeart/2005/8/layout/hList1"/>
    <dgm:cxn modelId="{7D4D6666-01AF-4AE9-A82F-2E4F72E40185}" type="presParOf" srcId="{43CBF117-C00B-43D4-8A71-45C9BAE2204E}" destId="{D133A6B7-425B-4122-99C9-BEF93DF0084A}" srcOrd="2" destOrd="0" presId="urn:microsoft.com/office/officeart/2005/8/layout/hList1"/>
    <dgm:cxn modelId="{052B329A-DF85-403E-A6B2-3F5D4F692DF0}" type="presParOf" srcId="{D133A6B7-425B-4122-99C9-BEF93DF0084A}" destId="{264B2599-A79F-4156-A7BF-F97B1AFAEE17}" srcOrd="0" destOrd="0" presId="urn:microsoft.com/office/officeart/2005/8/layout/hList1"/>
    <dgm:cxn modelId="{481BC12D-0D8F-4705-BF4F-624F7A1AD416}" type="presParOf" srcId="{D133A6B7-425B-4122-99C9-BEF93DF0084A}" destId="{B155AF91-3645-41EA-B45C-20172BFD1C25}" srcOrd="1" destOrd="0" presId="urn:microsoft.com/office/officeart/2005/8/layout/hList1"/>
    <dgm:cxn modelId="{8C6D00FB-C719-4957-AF3F-8C2DC0AF8028}" type="presParOf" srcId="{43CBF117-C00B-43D4-8A71-45C9BAE2204E}" destId="{240C2EA6-BC95-4C76-A327-6C1BEAD2471F}" srcOrd="3" destOrd="0" presId="urn:microsoft.com/office/officeart/2005/8/layout/hList1"/>
    <dgm:cxn modelId="{A2C41A5F-9CFE-424B-A802-2E67BE263A49}" type="presParOf" srcId="{43CBF117-C00B-43D4-8A71-45C9BAE2204E}" destId="{D7E205A1-31EB-4AA7-A2ED-133177654C2D}" srcOrd="4" destOrd="0" presId="urn:microsoft.com/office/officeart/2005/8/layout/hList1"/>
    <dgm:cxn modelId="{0934C0C8-B0F8-4AF4-8F66-FCA067537637}" type="presParOf" srcId="{D7E205A1-31EB-4AA7-A2ED-133177654C2D}" destId="{ECFA5B11-B926-430A-99F5-BD55A7DA942E}" srcOrd="0" destOrd="0" presId="urn:microsoft.com/office/officeart/2005/8/layout/hList1"/>
    <dgm:cxn modelId="{6EDD15BC-6DE3-4787-8B45-DC06BECE5672}" type="presParOf" srcId="{D7E205A1-31EB-4AA7-A2ED-133177654C2D}" destId="{B58E5D71-8CF3-4437-B8D0-A4D6F1491DB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BEE1DC1-18B9-4536-819F-42FDAC26DA1C}" type="doc">
      <dgm:prSet loTypeId="urn:microsoft.com/office/officeart/2005/8/layout/radial3" loCatId="cycle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fr-FR"/>
        </a:p>
      </dgm:t>
    </dgm:pt>
    <dgm:pt modelId="{9ABDC149-F83C-46DF-AADB-1B036C540A63}">
      <dgm:prSet phldrT="[Texte]" custT="1"/>
      <dgm:spPr/>
      <dgm:t>
        <a:bodyPr/>
        <a:lstStyle/>
        <a:p>
          <a:r>
            <a:rPr lang="fr-FR" sz="1400" b="1" dirty="0"/>
            <a:t>France VA</a:t>
          </a:r>
        </a:p>
      </dgm:t>
    </dgm:pt>
    <dgm:pt modelId="{2E0F779D-3951-43CA-9C51-5E14F7E8DD15}" type="parTrans" cxnId="{625C83FE-2CB9-4A92-ABE0-ECF210BC783B}">
      <dgm:prSet/>
      <dgm:spPr/>
      <dgm:t>
        <a:bodyPr/>
        <a:lstStyle/>
        <a:p>
          <a:endParaRPr lang="fr-FR"/>
        </a:p>
      </dgm:t>
    </dgm:pt>
    <dgm:pt modelId="{F7A9ED70-8DFB-4CDA-8B22-E82844CB429B}" type="sibTrans" cxnId="{625C83FE-2CB9-4A92-ABE0-ECF210BC783B}">
      <dgm:prSet/>
      <dgm:spPr/>
      <dgm:t>
        <a:bodyPr/>
        <a:lstStyle/>
        <a:p>
          <a:endParaRPr lang="fr-FR"/>
        </a:p>
      </dgm:t>
    </dgm:pt>
    <dgm:pt modelId="{AE3CA576-4A91-42B1-B915-FAA6D4B40130}">
      <dgm:prSet phldrT="[Texte]" custT="1"/>
      <dgm:spPr/>
      <dgm:t>
        <a:bodyPr/>
        <a:lstStyle/>
        <a:p>
          <a:pPr eaLnBrk="1" latinLnBrk="0"/>
          <a:r>
            <a:rPr lang="fr-FR" sz="1400" b="1" dirty="0"/>
            <a:t>Instituts technique &amp; de recherche</a:t>
          </a:r>
        </a:p>
      </dgm:t>
    </dgm:pt>
    <dgm:pt modelId="{4F4AED16-628E-4B36-BE91-B620359D9FE1}" type="parTrans" cxnId="{9F35B4C8-F53C-45C2-8E04-C75C2B1A4B3A}">
      <dgm:prSet/>
      <dgm:spPr/>
      <dgm:t>
        <a:bodyPr/>
        <a:lstStyle/>
        <a:p>
          <a:endParaRPr lang="fr-FR"/>
        </a:p>
      </dgm:t>
    </dgm:pt>
    <dgm:pt modelId="{BB83E59E-08CC-433E-9FF3-1AAEBF1358A5}" type="sibTrans" cxnId="{9F35B4C8-F53C-45C2-8E04-C75C2B1A4B3A}">
      <dgm:prSet/>
      <dgm:spPr/>
      <dgm:t>
        <a:bodyPr/>
        <a:lstStyle/>
        <a:p>
          <a:endParaRPr lang="fr-FR"/>
        </a:p>
      </dgm:t>
    </dgm:pt>
    <dgm:pt modelId="{258FB0A1-C781-492C-9C05-4112D2EB1FF4}">
      <dgm:prSet phldrT="[Texte]" custT="1"/>
      <dgm:spPr/>
      <dgm:t>
        <a:bodyPr/>
        <a:lstStyle/>
        <a:p>
          <a:r>
            <a:rPr lang="fr-FR" sz="1400" b="1" dirty="0" err="1"/>
            <a:t>Frêt</a:t>
          </a:r>
          <a:r>
            <a:rPr lang="fr-FR" sz="1400" b="1" dirty="0"/>
            <a:t> &amp; </a:t>
          </a:r>
          <a:r>
            <a:rPr lang="fr-FR" sz="1400" b="1" dirty="0" err="1"/>
            <a:t>logsitique</a:t>
          </a:r>
          <a:endParaRPr lang="fr-FR" sz="1400" b="1" dirty="0"/>
        </a:p>
      </dgm:t>
    </dgm:pt>
    <dgm:pt modelId="{2551E8D3-C96D-43EF-8E68-A74C9B72D67E}" type="parTrans" cxnId="{AFC13FDE-C696-4FA0-A93A-4CC398B66226}">
      <dgm:prSet/>
      <dgm:spPr/>
      <dgm:t>
        <a:bodyPr/>
        <a:lstStyle/>
        <a:p>
          <a:endParaRPr lang="fr-FR"/>
        </a:p>
      </dgm:t>
    </dgm:pt>
    <dgm:pt modelId="{58A168A7-6BB0-4503-A8E2-E7626D02C8D4}" type="sibTrans" cxnId="{AFC13FDE-C696-4FA0-A93A-4CC398B66226}">
      <dgm:prSet/>
      <dgm:spPr/>
      <dgm:t>
        <a:bodyPr/>
        <a:lstStyle/>
        <a:p>
          <a:endParaRPr lang="fr-FR"/>
        </a:p>
      </dgm:t>
    </dgm:pt>
    <dgm:pt modelId="{7A4690EE-FCC2-4F69-AFA3-D43C27BEE829}">
      <dgm:prSet phldrT="[Texte]" custT="1"/>
      <dgm:spPr/>
      <dgm:t>
        <a:bodyPr/>
        <a:lstStyle/>
        <a:p>
          <a:r>
            <a:rPr lang="fr-FR" sz="1400" b="1" dirty="0"/>
            <a:t>Automobile</a:t>
          </a:r>
        </a:p>
      </dgm:t>
    </dgm:pt>
    <dgm:pt modelId="{69FE5E11-2293-496F-B2BC-686AA06DDE9C}" type="parTrans" cxnId="{7C98F0A1-5A2E-4679-8B7B-8577FCAB9F10}">
      <dgm:prSet/>
      <dgm:spPr/>
      <dgm:t>
        <a:bodyPr/>
        <a:lstStyle/>
        <a:p>
          <a:endParaRPr lang="fr-FR"/>
        </a:p>
      </dgm:t>
    </dgm:pt>
    <dgm:pt modelId="{F528F20F-892D-4868-BDFF-65DFFD33D296}" type="sibTrans" cxnId="{7C98F0A1-5A2E-4679-8B7B-8577FCAB9F10}">
      <dgm:prSet/>
      <dgm:spPr/>
      <dgm:t>
        <a:bodyPr/>
        <a:lstStyle/>
        <a:p>
          <a:endParaRPr lang="fr-FR"/>
        </a:p>
      </dgm:t>
    </dgm:pt>
    <dgm:pt modelId="{575580DF-8AA3-4A59-8708-D55F6FD2CD95}">
      <dgm:prSet phldrT="[Texte]" custT="1"/>
      <dgm:spPr/>
      <dgm:t>
        <a:bodyPr/>
        <a:lstStyle/>
        <a:p>
          <a:pPr eaLnBrk="1" latinLnBrk="0"/>
          <a:r>
            <a:rPr lang="fr-FR" sz="1400" b="1" dirty="0"/>
            <a:t>Transport</a:t>
          </a:r>
        </a:p>
      </dgm:t>
    </dgm:pt>
    <dgm:pt modelId="{20161B3F-54E4-4D0B-B17F-10A96CD2897A}" type="parTrans" cxnId="{A07D6573-F61E-486C-A853-3E2D5CB52B3F}">
      <dgm:prSet/>
      <dgm:spPr/>
      <dgm:t>
        <a:bodyPr/>
        <a:lstStyle/>
        <a:p>
          <a:endParaRPr lang="fr-FR"/>
        </a:p>
      </dgm:t>
    </dgm:pt>
    <dgm:pt modelId="{AAD44955-E874-4B23-8D64-4765FF233950}" type="sibTrans" cxnId="{A07D6573-F61E-486C-A853-3E2D5CB52B3F}">
      <dgm:prSet/>
      <dgm:spPr/>
      <dgm:t>
        <a:bodyPr/>
        <a:lstStyle/>
        <a:p>
          <a:endParaRPr lang="fr-FR"/>
        </a:p>
      </dgm:t>
    </dgm:pt>
    <dgm:pt modelId="{FD7B9FF4-F2FB-46AB-AC21-ECF497B73148}">
      <dgm:prSet phldrT="[Texte]" custT="1"/>
      <dgm:spPr/>
      <dgm:t>
        <a:bodyPr/>
        <a:lstStyle/>
        <a:p>
          <a:pPr eaLnBrk="1" latinLnBrk="0"/>
          <a:r>
            <a:rPr lang="fr-FR" sz="1400" b="1" dirty="0"/>
            <a:t>Infrastructure &amp; connectivité</a:t>
          </a:r>
        </a:p>
      </dgm:t>
    </dgm:pt>
    <dgm:pt modelId="{7A2F1B14-270D-44F3-9A2F-D2B074C0D92D}" type="parTrans" cxnId="{2EC9E256-7E7B-47A8-8868-5C3A9DE874EA}">
      <dgm:prSet/>
      <dgm:spPr/>
      <dgm:t>
        <a:bodyPr/>
        <a:lstStyle/>
        <a:p>
          <a:endParaRPr lang="fr-FR"/>
        </a:p>
      </dgm:t>
    </dgm:pt>
    <dgm:pt modelId="{993E6A6F-A6A0-43D1-9F7B-1AD9CD33BCAE}" type="sibTrans" cxnId="{2EC9E256-7E7B-47A8-8868-5C3A9DE874EA}">
      <dgm:prSet/>
      <dgm:spPr/>
      <dgm:t>
        <a:bodyPr/>
        <a:lstStyle/>
        <a:p>
          <a:endParaRPr lang="fr-FR"/>
        </a:p>
      </dgm:t>
    </dgm:pt>
    <dgm:pt modelId="{5CEB73FB-103A-4967-A82B-A7EF601234F3}">
      <dgm:prSet phldrT="[Texte]" custT="1"/>
      <dgm:spPr/>
      <dgm:t>
        <a:bodyPr/>
        <a:lstStyle/>
        <a:p>
          <a:pPr eaLnBrk="1" latinLnBrk="0"/>
          <a:r>
            <a:rPr lang="fr-FR" sz="1400" b="1" dirty="0"/>
            <a:t>AD Technologie</a:t>
          </a:r>
        </a:p>
      </dgm:t>
    </dgm:pt>
    <dgm:pt modelId="{63EF4E19-4C47-4013-A612-AC643B71E0FA}" type="parTrans" cxnId="{1FCB7BEF-3259-45A9-9081-F64F592CC559}">
      <dgm:prSet/>
      <dgm:spPr/>
      <dgm:t>
        <a:bodyPr/>
        <a:lstStyle/>
        <a:p>
          <a:endParaRPr lang="fr-FR"/>
        </a:p>
      </dgm:t>
    </dgm:pt>
    <dgm:pt modelId="{319C962E-74C3-48B3-83A6-4B297622130D}" type="sibTrans" cxnId="{1FCB7BEF-3259-45A9-9081-F64F592CC559}">
      <dgm:prSet/>
      <dgm:spPr/>
      <dgm:t>
        <a:bodyPr/>
        <a:lstStyle/>
        <a:p>
          <a:endParaRPr lang="fr-FR"/>
        </a:p>
      </dgm:t>
    </dgm:pt>
    <dgm:pt modelId="{4A6A2100-940A-4B86-B6D2-F29DFFEF7913}" type="pres">
      <dgm:prSet presAssocID="{EBEE1DC1-18B9-4536-819F-42FDAC26DA1C}" presName="composite" presStyleCnt="0">
        <dgm:presLayoutVars>
          <dgm:chMax val="1"/>
          <dgm:dir/>
          <dgm:resizeHandles val="exact"/>
        </dgm:presLayoutVars>
      </dgm:prSet>
      <dgm:spPr/>
    </dgm:pt>
    <dgm:pt modelId="{C87924DB-CDC0-4A27-A346-8A24EC903B47}" type="pres">
      <dgm:prSet presAssocID="{EBEE1DC1-18B9-4536-819F-42FDAC26DA1C}" presName="radial" presStyleCnt="0">
        <dgm:presLayoutVars>
          <dgm:animLvl val="ctr"/>
        </dgm:presLayoutVars>
      </dgm:prSet>
      <dgm:spPr/>
    </dgm:pt>
    <dgm:pt modelId="{B92A41B1-BB88-47FE-AAB9-7E208E97E579}" type="pres">
      <dgm:prSet presAssocID="{9ABDC149-F83C-46DF-AADB-1B036C540A63}" presName="centerShape" presStyleLbl="vennNode1" presStyleIdx="0" presStyleCnt="7" custScaleX="65834" custScaleY="58281" custLinFactNeighborY="-1389"/>
      <dgm:spPr/>
    </dgm:pt>
    <dgm:pt modelId="{DC5A229E-0706-4825-BE89-C584BC0A0028}" type="pres">
      <dgm:prSet presAssocID="{AE3CA576-4A91-42B1-B915-FAA6D4B40130}" presName="node" presStyleLbl="vennNode1" presStyleIdx="1" presStyleCnt="7" custRadScaleRad="79555" custRadScaleInc="565">
        <dgm:presLayoutVars>
          <dgm:bulletEnabled val="1"/>
        </dgm:presLayoutVars>
      </dgm:prSet>
      <dgm:spPr/>
    </dgm:pt>
    <dgm:pt modelId="{E82D7AB9-8618-4A87-9D47-34907CA4FF9C}" type="pres">
      <dgm:prSet presAssocID="{FD7B9FF4-F2FB-46AB-AC21-ECF497B73148}" presName="node" presStyleLbl="vennNode1" presStyleIdx="2" presStyleCnt="7" custScaleX="127474" custRadScaleRad="93851" custRadScaleInc="2596">
        <dgm:presLayoutVars>
          <dgm:bulletEnabled val="1"/>
        </dgm:presLayoutVars>
      </dgm:prSet>
      <dgm:spPr/>
    </dgm:pt>
    <dgm:pt modelId="{20288196-49E2-4EFC-8C6B-29C67B82C1D3}" type="pres">
      <dgm:prSet presAssocID="{258FB0A1-C781-492C-9C05-4112D2EB1FF4}" presName="node" presStyleLbl="vennNode1" presStyleIdx="3" presStyleCnt="7" custScaleX="90876" custScaleY="86481" custRadScaleRad="73479" custRadScaleInc="-7411">
        <dgm:presLayoutVars>
          <dgm:bulletEnabled val="1"/>
        </dgm:presLayoutVars>
      </dgm:prSet>
      <dgm:spPr/>
    </dgm:pt>
    <dgm:pt modelId="{9D262A68-C747-4D08-AA9A-0802D473A857}" type="pres">
      <dgm:prSet presAssocID="{7A4690EE-FCC2-4F69-AFA3-D43C27BEE829}" presName="node" presStyleLbl="vennNode1" presStyleIdx="4" presStyleCnt="7" custScaleX="105026" custScaleY="77694" custRadScaleRad="72705" custRadScaleInc="-10015">
        <dgm:presLayoutVars>
          <dgm:bulletEnabled val="1"/>
        </dgm:presLayoutVars>
      </dgm:prSet>
      <dgm:spPr/>
    </dgm:pt>
    <dgm:pt modelId="{B7F55202-5BBA-434B-BC97-DB8E67BE8E6E}" type="pres">
      <dgm:prSet presAssocID="{5CEB73FB-103A-4967-A82B-A7EF601234F3}" presName="node" presStyleLbl="vennNode1" presStyleIdx="5" presStyleCnt="7" custScaleX="123087" custRadScaleRad="87596" custRadScaleInc="-3115">
        <dgm:presLayoutVars>
          <dgm:bulletEnabled val="1"/>
        </dgm:presLayoutVars>
      </dgm:prSet>
      <dgm:spPr/>
    </dgm:pt>
    <dgm:pt modelId="{9A989307-FFCD-4623-A468-D4DA357B0C95}" type="pres">
      <dgm:prSet presAssocID="{575580DF-8AA3-4A59-8708-D55F6FD2CD95}" presName="node" presStyleLbl="vennNode1" presStyleIdx="6" presStyleCnt="7" custScaleX="112014" custScaleY="102388" custRadScaleRad="84828" custRadScaleInc="-4805">
        <dgm:presLayoutVars>
          <dgm:bulletEnabled val="1"/>
        </dgm:presLayoutVars>
      </dgm:prSet>
      <dgm:spPr/>
    </dgm:pt>
  </dgm:ptLst>
  <dgm:cxnLst>
    <dgm:cxn modelId="{13235301-C1CE-4CC3-B698-C70DDF5E1501}" type="presOf" srcId="{AE3CA576-4A91-42B1-B915-FAA6D4B40130}" destId="{DC5A229E-0706-4825-BE89-C584BC0A0028}" srcOrd="0" destOrd="0" presId="urn:microsoft.com/office/officeart/2005/8/layout/radial3"/>
    <dgm:cxn modelId="{4DE8D33B-3131-4179-B659-A24F131C4665}" type="presOf" srcId="{EBEE1DC1-18B9-4536-819F-42FDAC26DA1C}" destId="{4A6A2100-940A-4B86-B6D2-F29DFFEF7913}" srcOrd="0" destOrd="0" presId="urn:microsoft.com/office/officeart/2005/8/layout/radial3"/>
    <dgm:cxn modelId="{44F9D93F-9E15-4214-AE4F-4C3947D6B8BB}" type="presOf" srcId="{9ABDC149-F83C-46DF-AADB-1B036C540A63}" destId="{B92A41B1-BB88-47FE-AAB9-7E208E97E579}" srcOrd="0" destOrd="0" presId="urn:microsoft.com/office/officeart/2005/8/layout/radial3"/>
    <dgm:cxn modelId="{2EC9E256-7E7B-47A8-8868-5C3A9DE874EA}" srcId="{9ABDC149-F83C-46DF-AADB-1B036C540A63}" destId="{FD7B9FF4-F2FB-46AB-AC21-ECF497B73148}" srcOrd="1" destOrd="0" parTransId="{7A2F1B14-270D-44F3-9A2F-D2B074C0D92D}" sibTransId="{993E6A6F-A6A0-43D1-9F7B-1AD9CD33BCAE}"/>
    <dgm:cxn modelId="{32EE416E-7E9D-4395-AFA3-1180EA5D196D}" type="presOf" srcId="{5CEB73FB-103A-4967-A82B-A7EF601234F3}" destId="{B7F55202-5BBA-434B-BC97-DB8E67BE8E6E}" srcOrd="0" destOrd="0" presId="urn:microsoft.com/office/officeart/2005/8/layout/radial3"/>
    <dgm:cxn modelId="{A07D6573-F61E-486C-A853-3E2D5CB52B3F}" srcId="{9ABDC149-F83C-46DF-AADB-1B036C540A63}" destId="{575580DF-8AA3-4A59-8708-D55F6FD2CD95}" srcOrd="5" destOrd="0" parTransId="{20161B3F-54E4-4D0B-B17F-10A96CD2897A}" sibTransId="{AAD44955-E874-4B23-8D64-4765FF233950}"/>
    <dgm:cxn modelId="{B9860E9A-B6FE-4C58-A1DF-740B75737F11}" type="presOf" srcId="{575580DF-8AA3-4A59-8708-D55F6FD2CD95}" destId="{9A989307-FFCD-4623-A468-D4DA357B0C95}" srcOrd="0" destOrd="0" presId="urn:microsoft.com/office/officeart/2005/8/layout/radial3"/>
    <dgm:cxn modelId="{7C98F0A1-5A2E-4679-8B7B-8577FCAB9F10}" srcId="{9ABDC149-F83C-46DF-AADB-1B036C540A63}" destId="{7A4690EE-FCC2-4F69-AFA3-D43C27BEE829}" srcOrd="3" destOrd="0" parTransId="{69FE5E11-2293-496F-B2BC-686AA06DDE9C}" sibTransId="{F528F20F-892D-4868-BDFF-65DFFD33D296}"/>
    <dgm:cxn modelId="{3BBAE0C0-3CE2-4BEC-B919-FB74E7E31C63}" type="presOf" srcId="{FD7B9FF4-F2FB-46AB-AC21-ECF497B73148}" destId="{E82D7AB9-8618-4A87-9D47-34907CA4FF9C}" srcOrd="0" destOrd="0" presId="urn:microsoft.com/office/officeart/2005/8/layout/radial3"/>
    <dgm:cxn modelId="{7F3468C7-A3AF-426A-8CB5-1E9BF2AE3F13}" type="presOf" srcId="{7A4690EE-FCC2-4F69-AFA3-D43C27BEE829}" destId="{9D262A68-C747-4D08-AA9A-0802D473A857}" srcOrd="0" destOrd="0" presId="urn:microsoft.com/office/officeart/2005/8/layout/radial3"/>
    <dgm:cxn modelId="{9F35B4C8-F53C-45C2-8E04-C75C2B1A4B3A}" srcId="{9ABDC149-F83C-46DF-AADB-1B036C540A63}" destId="{AE3CA576-4A91-42B1-B915-FAA6D4B40130}" srcOrd="0" destOrd="0" parTransId="{4F4AED16-628E-4B36-BE91-B620359D9FE1}" sibTransId="{BB83E59E-08CC-433E-9FF3-1AAEBF1358A5}"/>
    <dgm:cxn modelId="{535106CD-A5F8-4D1D-8C5B-DAB0BB5CFE1B}" type="presOf" srcId="{258FB0A1-C781-492C-9C05-4112D2EB1FF4}" destId="{20288196-49E2-4EFC-8C6B-29C67B82C1D3}" srcOrd="0" destOrd="0" presId="urn:microsoft.com/office/officeart/2005/8/layout/radial3"/>
    <dgm:cxn modelId="{AFC13FDE-C696-4FA0-A93A-4CC398B66226}" srcId="{9ABDC149-F83C-46DF-AADB-1B036C540A63}" destId="{258FB0A1-C781-492C-9C05-4112D2EB1FF4}" srcOrd="2" destOrd="0" parTransId="{2551E8D3-C96D-43EF-8E68-A74C9B72D67E}" sibTransId="{58A168A7-6BB0-4503-A8E2-E7626D02C8D4}"/>
    <dgm:cxn modelId="{1FCB7BEF-3259-45A9-9081-F64F592CC559}" srcId="{9ABDC149-F83C-46DF-AADB-1B036C540A63}" destId="{5CEB73FB-103A-4967-A82B-A7EF601234F3}" srcOrd="4" destOrd="0" parTransId="{63EF4E19-4C47-4013-A612-AC643B71E0FA}" sibTransId="{319C962E-74C3-48B3-83A6-4B297622130D}"/>
    <dgm:cxn modelId="{625C83FE-2CB9-4A92-ABE0-ECF210BC783B}" srcId="{EBEE1DC1-18B9-4536-819F-42FDAC26DA1C}" destId="{9ABDC149-F83C-46DF-AADB-1B036C540A63}" srcOrd="0" destOrd="0" parTransId="{2E0F779D-3951-43CA-9C51-5E14F7E8DD15}" sibTransId="{F7A9ED70-8DFB-4CDA-8B22-E82844CB429B}"/>
    <dgm:cxn modelId="{DC138DA1-F51A-4552-AE9F-69ACFDD6FF36}" type="presParOf" srcId="{4A6A2100-940A-4B86-B6D2-F29DFFEF7913}" destId="{C87924DB-CDC0-4A27-A346-8A24EC903B47}" srcOrd="0" destOrd="0" presId="urn:microsoft.com/office/officeart/2005/8/layout/radial3"/>
    <dgm:cxn modelId="{F407A57D-433C-4B7B-BB4A-99FBD18F0978}" type="presParOf" srcId="{C87924DB-CDC0-4A27-A346-8A24EC903B47}" destId="{B92A41B1-BB88-47FE-AAB9-7E208E97E579}" srcOrd="0" destOrd="0" presId="urn:microsoft.com/office/officeart/2005/8/layout/radial3"/>
    <dgm:cxn modelId="{4CFAFC13-3E0D-491A-A703-660739ADCE20}" type="presParOf" srcId="{C87924DB-CDC0-4A27-A346-8A24EC903B47}" destId="{DC5A229E-0706-4825-BE89-C584BC0A0028}" srcOrd="1" destOrd="0" presId="urn:microsoft.com/office/officeart/2005/8/layout/radial3"/>
    <dgm:cxn modelId="{3532B39D-B037-4A28-87F3-0FF9177C6FD6}" type="presParOf" srcId="{C87924DB-CDC0-4A27-A346-8A24EC903B47}" destId="{E82D7AB9-8618-4A87-9D47-34907CA4FF9C}" srcOrd="2" destOrd="0" presId="urn:microsoft.com/office/officeart/2005/8/layout/radial3"/>
    <dgm:cxn modelId="{649F7309-B565-49DD-B9E3-A289D7C358DE}" type="presParOf" srcId="{C87924DB-CDC0-4A27-A346-8A24EC903B47}" destId="{20288196-49E2-4EFC-8C6B-29C67B82C1D3}" srcOrd="3" destOrd="0" presId="urn:microsoft.com/office/officeart/2005/8/layout/radial3"/>
    <dgm:cxn modelId="{1520DFBD-25B7-4F0B-B4DF-9A2C35B26F8E}" type="presParOf" srcId="{C87924DB-CDC0-4A27-A346-8A24EC903B47}" destId="{9D262A68-C747-4D08-AA9A-0802D473A857}" srcOrd="4" destOrd="0" presId="urn:microsoft.com/office/officeart/2005/8/layout/radial3"/>
    <dgm:cxn modelId="{ADA00603-3671-4366-9EAA-D29585E804CE}" type="presParOf" srcId="{C87924DB-CDC0-4A27-A346-8A24EC903B47}" destId="{B7F55202-5BBA-434B-BC97-DB8E67BE8E6E}" srcOrd="5" destOrd="0" presId="urn:microsoft.com/office/officeart/2005/8/layout/radial3"/>
    <dgm:cxn modelId="{312F0C7A-0149-47FD-A128-67E26D64C286}" type="presParOf" srcId="{C87924DB-CDC0-4A27-A346-8A24EC903B47}" destId="{9A989307-FFCD-4623-A468-D4DA357B0C95}" srcOrd="6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BEE1DC1-18B9-4536-819F-42FDAC26DA1C}" type="doc">
      <dgm:prSet loTypeId="urn:microsoft.com/office/officeart/2005/8/layout/radial3" loCatId="cycle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fr-FR"/>
        </a:p>
      </dgm:t>
    </dgm:pt>
    <dgm:pt modelId="{9ABDC149-F83C-46DF-AADB-1B036C540A63}">
      <dgm:prSet phldrT="[Texte]" custT="1"/>
      <dgm:spPr/>
      <dgm:t>
        <a:bodyPr/>
        <a:lstStyle/>
        <a:p>
          <a:r>
            <a:rPr lang="fr-FR" sz="1400" b="1" dirty="0"/>
            <a:t>Administration</a:t>
          </a:r>
        </a:p>
      </dgm:t>
    </dgm:pt>
    <dgm:pt modelId="{2E0F779D-3951-43CA-9C51-5E14F7E8DD15}" type="parTrans" cxnId="{625C83FE-2CB9-4A92-ABE0-ECF210BC783B}">
      <dgm:prSet/>
      <dgm:spPr/>
      <dgm:t>
        <a:bodyPr/>
        <a:lstStyle/>
        <a:p>
          <a:endParaRPr lang="fr-FR"/>
        </a:p>
      </dgm:t>
    </dgm:pt>
    <dgm:pt modelId="{F7A9ED70-8DFB-4CDA-8B22-E82844CB429B}" type="sibTrans" cxnId="{625C83FE-2CB9-4A92-ABE0-ECF210BC783B}">
      <dgm:prSet/>
      <dgm:spPr/>
      <dgm:t>
        <a:bodyPr/>
        <a:lstStyle/>
        <a:p>
          <a:endParaRPr lang="fr-FR"/>
        </a:p>
      </dgm:t>
    </dgm:pt>
    <dgm:pt modelId="{AE3CA576-4A91-42B1-B915-FAA6D4B40130}">
      <dgm:prSet phldrT="[Texte]" custT="1"/>
      <dgm:spPr/>
      <dgm:t>
        <a:bodyPr/>
        <a:lstStyle/>
        <a:p>
          <a:pPr eaLnBrk="1" latinLnBrk="0"/>
          <a:r>
            <a:rPr lang="fr-FR" sz="1400" b="1" dirty="0"/>
            <a:t>DGE</a:t>
          </a:r>
        </a:p>
      </dgm:t>
    </dgm:pt>
    <dgm:pt modelId="{4F4AED16-628E-4B36-BE91-B620359D9FE1}" type="parTrans" cxnId="{9F35B4C8-F53C-45C2-8E04-C75C2B1A4B3A}">
      <dgm:prSet/>
      <dgm:spPr/>
      <dgm:t>
        <a:bodyPr/>
        <a:lstStyle/>
        <a:p>
          <a:endParaRPr lang="fr-FR"/>
        </a:p>
      </dgm:t>
    </dgm:pt>
    <dgm:pt modelId="{BB83E59E-08CC-433E-9FF3-1AAEBF1358A5}" type="sibTrans" cxnId="{9F35B4C8-F53C-45C2-8E04-C75C2B1A4B3A}">
      <dgm:prSet/>
      <dgm:spPr/>
      <dgm:t>
        <a:bodyPr/>
        <a:lstStyle/>
        <a:p>
          <a:endParaRPr lang="fr-FR"/>
        </a:p>
      </dgm:t>
    </dgm:pt>
    <dgm:pt modelId="{258FB0A1-C781-492C-9C05-4112D2EB1FF4}">
      <dgm:prSet phldrT="[Texte]" custT="1"/>
      <dgm:spPr/>
      <dgm:t>
        <a:bodyPr/>
        <a:lstStyle/>
        <a:p>
          <a:r>
            <a:rPr lang="fr-FR" sz="1400" b="1" dirty="0"/>
            <a:t>DSR</a:t>
          </a:r>
        </a:p>
      </dgm:t>
    </dgm:pt>
    <dgm:pt modelId="{2551E8D3-C96D-43EF-8E68-A74C9B72D67E}" type="parTrans" cxnId="{AFC13FDE-C696-4FA0-A93A-4CC398B66226}">
      <dgm:prSet/>
      <dgm:spPr/>
      <dgm:t>
        <a:bodyPr/>
        <a:lstStyle/>
        <a:p>
          <a:endParaRPr lang="fr-FR"/>
        </a:p>
      </dgm:t>
    </dgm:pt>
    <dgm:pt modelId="{58A168A7-6BB0-4503-A8E2-E7626D02C8D4}" type="sibTrans" cxnId="{AFC13FDE-C696-4FA0-A93A-4CC398B66226}">
      <dgm:prSet/>
      <dgm:spPr/>
      <dgm:t>
        <a:bodyPr/>
        <a:lstStyle/>
        <a:p>
          <a:endParaRPr lang="fr-FR"/>
        </a:p>
      </dgm:t>
    </dgm:pt>
    <dgm:pt modelId="{575580DF-8AA3-4A59-8708-D55F6FD2CD95}">
      <dgm:prSet phldrT="[Texte]" custT="1"/>
      <dgm:spPr/>
      <dgm:t>
        <a:bodyPr/>
        <a:lstStyle/>
        <a:p>
          <a:pPr eaLnBrk="1" latinLnBrk="0"/>
          <a:r>
            <a:rPr lang="fr-FR" sz="1400" b="1" dirty="0"/>
            <a:t>ANSI</a:t>
          </a:r>
        </a:p>
      </dgm:t>
    </dgm:pt>
    <dgm:pt modelId="{20161B3F-54E4-4D0B-B17F-10A96CD2897A}" type="parTrans" cxnId="{A07D6573-F61E-486C-A853-3E2D5CB52B3F}">
      <dgm:prSet/>
      <dgm:spPr/>
      <dgm:t>
        <a:bodyPr/>
        <a:lstStyle/>
        <a:p>
          <a:endParaRPr lang="fr-FR"/>
        </a:p>
      </dgm:t>
    </dgm:pt>
    <dgm:pt modelId="{AAD44955-E874-4B23-8D64-4765FF233950}" type="sibTrans" cxnId="{A07D6573-F61E-486C-A853-3E2D5CB52B3F}">
      <dgm:prSet/>
      <dgm:spPr/>
      <dgm:t>
        <a:bodyPr/>
        <a:lstStyle/>
        <a:p>
          <a:endParaRPr lang="fr-FR"/>
        </a:p>
      </dgm:t>
    </dgm:pt>
    <dgm:pt modelId="{FD7B9FF4-F2FB-46AB-AC21-ECF497B73148}">
      <dgm:prSet phldrT="[Texte]" custT="1"/>
      <dgm:spPr/>
      <dgm:t>
        <a:bodyPr/>
        <a:lstStyle/>
        <a:p>
          <a:pPr eaLnBrk="1" latinLnBrk="0"/>
          <a:r>
            <a:rPr lang="fr-FR" sz="1400" b="1" dirty="0"/>
            <a:t>DGEC</a:t>
          </a:r>
        </a:p>
      </dgm:t>
    </dgm:pt>
    <dgm:pt modelId="{7A2F1B14-270D-44F3-9A2F-D2B074C0D92D}" type="parTrans" cxnId="{2EC9E256-7E7B-47A8-8868-5C3A9DE874EA}">
      <dgm:prSet/>
      <dgm:spPr/>
      <dgm:t>
        <a:bodyPr/>
        <a:lstStyle/>
        <a:p>
          <a:endParaRPr lang="fr-FR"/>
        </a:p>
      </dgm:t>
    </dgm:pt>
    <dgm:pt modelId="{993E6A6F-A6A0-43D1-9F7B-1AD9CD33BCAE}" type="sibTrans" cxnId="{2EC9E256-7E7B-47A8-8868-5C3A9DE874EA}">
      <dgm:prSet/>
      <dgm:spPr/>
      <dgm:t>
        <a:bodyPr/>
        <a:lstStyle/>
        <a:p>
          <a:endParaRPr lang="fr-FR"/>
        </a:p>
      </dgm:t>
    </dgm:pt>
    <dgm:pt modelId="{5CEB73FB-103A-4967-A82B-A7EF601234F3}">
      <dgm:prSet phldrT="[Texte]" custT="1"/>
      <dgm:spPr/>
      <dgm:t>
        <a:bodyPr/>
        <a:lstStyle/>
        <a:p>
          <a:pPr eaLnBrk="1" latinLnBrk="0"/>
          <a:r>
            <a:rPr lang="fr-FR" sz="1400" b="1" dirty="0"/>
            <a:t>DGGN</a:t>
          </a:r>
        </a:p>
      </dgm:t>
    </dgm:pt>
    <dgm:pt modelId="{63EF4E19-4C47-4013-A612-AC643B71E0FA}" type="parTrans" cxnId="{1FCB7BEF-3259-45A9-9081-F64F592CC559}">
      <dgm:prSet/>
      <dgm:spPr/>
      <dgm:t>
        <a:bodyPr/>
        <a:lstStyle/>
        <a:p>
          <a:endParaRPr lang="fr-FR"/>
        </a:p>
      </dgm:t>
    </dgm:pt>
    <dgm:pt modelId="{319C962E-74C3-48B3-83A6-4B297622130D}" type="sibTrans" cxnId="{1FCB7BEF-3259-45A9-9081-F64F592CC559}">
      <dgm:prSet/>
      <dgm:spPr/>
      <dgm:t>
        <a:bodyPr/>
        <a:lstStyle/>
        <a:p>
          <a:endParaRPr lang="fr-FR"/>
        </a:p>
      </dgm:t>
    </dgm:pt>
    <dgm:pt modelId="{4A6A2100-940A-4B86-B6D2-F29DFFEF7913}" type="pres">
      <dgm:prSet presAssocID="{EBEE1DC1-18B9-4536-819F-42FDAC26DA1C}" presName="composite" presStyleCnt="0">
        <dgm:presLayoutVars>
          <dgm:chMax val="1"/>
          <dgm:dir/>
          <dgm:resizeHandles val="exact"/>
        </dgm:presLayoutVars>
      </dgm:prSet>
      <dgm:spPr/>
    </dgm:pt>
    <dgm:pt modelId="{C87924DB-CDC0-4A27-A346-8A24EC903B47}" type="pres">
      <dgm:prSet presAssocID="{EBEE1DC1-18B9-4536-819F-42FDAC26DA1C}" presName="radial" presStyleCnt="0">
        <dgm:presLayoutVars>
          <dgm:animLvl val="ctr"/>
        </dgm:presLayoutVars>
      </dgm:prSet>
      <dgm:spPr/>
    </dgm:pt>
    <dgm:pt modelId="{B92A41B1-BB88-47FE-AAB9-7E208E97E579}" type="pres">
      <dgm:prSet presAssocID="{9ABDC149-F83C-46DF-AADB-1B036C540A63}" presName="centerShape" presStyleLbl="vennNode1" presStyleIdx="0" presStyleCnt="6" custScaleX="104780" custScaleY="45859" custLinFactNeighborY="-1389"/>
      <dgm:spPr/>
    </dgm:pt>
    <dgm:pt modelId="{DC5A229E-0706-4825-BE89-C584BC0A0028}" type="pres">
      <dgm:prSet presAssocID="{AE3CA576-4A91-42B1-B915-FAA6D4B40130}" presName="node" presStyleLbl="vennNode1" presStyleIdx="1" presStyleCnt="6" custScaleX="91475" custScaleY="60956" custRadScaleRad="60510" custRadScaleInc="743">
        <dgm:presLayoutVars>
          <dgm:bulletEnabled val="1"/>
        </dgm:presLayoutVars>
      </dgm:prSet>
      <dgm:spPr/>
    </dgm:pt>
    <dgm:pt modelId="{E82D7AB9-8618-4A87-9D47-34907CA4FF9C}" type="pres">
      <dgm:prSet presAssocID="{FD7B9FF4-F2FB-46AB-AC21-ECF497B73148}" presName="node" presStyleLbl="vennNode1" presStyleIdx="2" presStyleCnt="6" custScaleX="75256" custScaleY="81191" custRadScaleRad="105496" custRadScaleInc="8172">
        <dgm:presLayoutVars>
          <dgm:bulletEnabled val="1"/>
        </dgm:presLayoutVars>
      </dgm:prSet>
      <dgm:spPr/>
    </dgm:pt>
    <dgm:pt modelId="{20288196-49E2-4EFC-8C6B-29C67B82C1D3}" type="pres">
      <dgm:prSet presAssocID="{258FB0A1-C781-492C-9C05-4112D2EB1FF4}" presName="node" presStyleLbl="vennNode1" presStyleIdx="3" presStyleCnt="6" custScaleX="56719" custScaleY="57576" custRadScaleRad="67946" custRadScaleInc="-13308">
        <dgm:presLayoutVars>
          <dgm:bulletEnabled val="1"/>
        </dgm:presLayoutVars>
      </dgm:prSet>
      <dgm:spPr/>
    </dgm:pt>
    <dgm:pt modelId="{B7F55202-5BBA-434B-BC97-DB8E67BE8E6E}" type="pres">
      <dgm:prSet presAssocID="{5CEB73FB-103A-4967-A82B-A7EF601234F3}" presName="node" presStyleLbl="vennNode1" presStyleIdx="4" presStyleCnt="6" custScaleX="75781" custScaleY="67944" custRadScaleRad="63020" custRadScaleInc="5207">
        <dgm:presLayoutVars>
          <dgm:bulletEnabled val="1"/>
        </dgm:presLayoutVars>
      </dgm:prSet>
      <dgm:spPr/>
    </dgm:pt>
    <dgm:pt modelId="{9A989307-FFCD-4623-A468-D4DA357B0C95}" type="pres">
      <dgm:prSet presAssocID="{575580DF-8AA3-4A59-8708-D55F6FD2CD95}" presName="node" presStyleLbl="vennNode1" presStyleIdx="5" presStyleCnt="6" custScaleX="73421" custScaleY="75785" custRadScaleRad="84828" custRadScaleInc="-4805">
        <dgm:presLayoutVars>
          <dgm:bulletEnabled val="1"/>
        </dgm:presLayoutVars>
      </dgm:prSet>
      <dgm:spPr/>
    </dgm:pt>
  </dgm:ptLst>
  <dgm:cxnLst>
    <dgm:cxn modelId="{13235301-C1CE-4CC3-B698-C70DDF5E1501}" type="presOf" srcId="{AE3CA576-4A91-42B1-B915-FAA6D4B40130}" destId="{DC5A229E-0706-4825-BE89-C584BC0A0028}" srcOrd="0" destOrd="0" presId="urn:microsoft.com/office/officeart/2005/8/layout/radial3"/>
    <dgm:cxn modelId="{4DE8D33B-3131-4179-B659-A24F131C4665}" type="presOf" srcId="{EBEE1DC1-18B9-4536-819F-42FDAC26DA1C}" destId="{4A6A2100-940A-4B86-B6D2-F29DFFEF7913}" srcOrd="0" destOrd="0" presId="urn:microsoft.com/office/officeart/2005/8/layout/radial3"/>
    <dgm:cxn modelId="{44F9D93F-9E15-4214-AE4F-4C3947D6B8BB}" type="presOf" srcId="{9ABDC149-F83C-46DF-AADB-1B036C540A63}" destId="{B92A41B1-BB88-47FE-AAB9-7E208E97E579}" srcOrd="0" destOrd="0" presId="urn:microsoft.com/office/officeart/2005/8/layout/radial3"/>
    <dgm:cxn modelId="{2EC9E256-7E7B-47A8-8868-5C3A9DE874EA}" srcId="{9ABDC149-F83C-46DF-AADB-1B036C540A63}" destId="{FD7B9FF4-F2FB-46AB-AC21-ECF497B73148}" srcOrd="1" destOrd="0" parTransId="{7A2F1B14-270D-44F3-9A2F-D2B074C0D92D}" sibTransId="{993E6A6F-A6A0-43D1-9F7B-1AD9CD33BCAE}"/>
    <dgm:cxn modelId="{32EE416E-7E9D-4395-AFA3-1180EA5D196D}" type="presOf" srcId="{5CEB73FB-103A-4967-A82B-A7EF601234F3}" destId="{B7F55202-5BBA-434B-BC97-DB8E67BE8E6E}" srcOrd="0" destOrd="0" presId="urn:microsoft.com/office/officeart/2005/8/layout/radial3"/>
    <dgm:cxn modelId="{A07D6573-F61E-486C-A853-3E2D5CB52B3F}" srcId="{9ABDC149-F83C-46DF-AADB-1B036C540A63}" destId="{575580DF-8AA3-4A59-8708-D55F6FD2CD95}" srcOrd="4" destOrd="0" parTransId="{20161B3F-54E4-4D0B-B17F-10A96CD2897A}" sibTransId="{AAD44955-E874-4B23-8D64-4765FF233950}"/>
    <dgm:cxn modelId="{B9860E9A-B6FE-4C58-A1DF-740B75737F11}" type="presOf" srcId="{575580DF-8AA3-4A59-8708-D55F6FD2CD95}" destId="{9A989307-FFCD-4623-A468-D4DA357B0C95}" srcOrd="0" destOrd="0" presId="urn:microsoft.com/office/officeart/2005/8/layout/radial3"/>
    <dgm:cxn modelId="{3BBAE0C0-3CE2-4BEC-B919-FB74E7E31C63}" type="presOf" srcId="{FD7B9FF4-F2FB-46AB-AC21-ECF497B73148}" destId="{E82D7AB9-8618-4A87-9D47-34907CA4FF9C}" srcOrd="0" destOrd="0" presId="urn:microsoft.com/office/officeart/2005/8/layout/radial3"/>
    <dgm:cxn modelId="{9F35B4C8-F53C-45C2-8E04-C75C2B1A4B3A}" srcId="{9ABDC149-F83C-46DF-AADB-1B036C540A63}" destId="{AE3CA576-4A91-42B1-B915-FAA6D4B40130}" srcOrd="0" destOrd="0" parTransId="{4F4AED16-628E-4B36-BE91-B620359D9FE1}" sibTransId="{BB83E59E-08CC-433E-9FF3-1AAEBF1358A5}"/>
    <dgm:cxn modelId="{535106CD-A5F8-4D1D-8C5B-DAB0BB5CFE1B}" type="presOf" srcId="{258FB0A1-C781-492C-9C05-4112D2EB1FF4}" destId="{20288196-49E2-4EFC-8C6B-29C67B82C1D3}" srcOrd="0" destOrd="0" presId="urn:microsoft.com/office/officeart/2005/8/layout/radial3"/>
    <dgm:cxn modelId="{AFC13FDE-C696-4FA0-A93A-4CC398B66226}" srcId="{9ABDC149-F83C-46DF-AADB-1B036C540A63}" destId="{258FB0A1-C781-492C-9C05-4112D2EB1FF4}" srcOrd="2" destOrd="0" parTransId="{2551E8D3-C96D-43EF-8E68-A74C9B72D67E}" sibTransId="{58A168A7-6BB0-4503-A8E2-E7626D02C8D4}"/>
    <dgm:cxn modelId="{1FCB7BEF-3259-45A9-9081-F64F592CC559}" srcId="{9ABDC149-F83C-46DF-AADB-1B036C540A63}" destId="{5CEB73FB-103A-4967-A82B-A7EF601234F3}" srcOrd="3" destOrd="0" parTransId="{63EF4E19-4C47-4013-A612-AC643B71E0FA}" sibTransId="{319C962E-74C3-48B3-83A6-4B297622130D}"/>
    <dgm:cxn modelId="{625C83FE-2CB9-4A92-ABE0-ECF210BC783B}" srcId="{EBEE1DC1-18B9-4536-819F-42FDAC26DA1C}" destId="{9ABDC149-F83C-46DF-AADB-1B036C540A63}" srcOrd="0" destOrd="0" parTransId="{2E0F779D-3951-43CA-9C51-5E14F7E8DD15}" sibTransId="{F7A9ED70-8DFB-4CDA-8B22-E82844CB429B}"/>
    <dgm:cxn modelId="{DC138DA1-F51A-4552-AE9F-69ACFDD6FF36}" type="presParOf" srcId="{4A6A2100-940A-4B86-B6D2-F29DFFEF7913}" destId="{C87924DB-CDC0-4A27-A346-8A24EC903B47}" srcOrd="0" destOrd="0" presId="urn:microsoft.com/office/officeart/2005/8/layout/radial3"/>
    <dgm:cxn modelId="{F407A57D-433C-4B7B-BB4A-99FBD18F0978}" type="presParOf" srcId="{C87924DB-CDC0-4A27-A346-8A24EC903B47}" destId="{B92A41B1-BB88-47FE-AAB9-7E208E97E579}" srcOrd="0" destOrd="0" presId="urn:microsoft.com/office/officeart/2005/8/layout/radial3"/>
    <dgm:cxn modelId="{4CFAFC13-3E0D-491A-A703-660739ADCE20}" type="presParOf" srcId="{C87924DB-CDC0-4A27-A346-8A24EC903B47}" destId="{DC5A229E-0706-4825-BE89-C584BC0A0028}" srcOrd="1" destOrd="0" presId="urn:microsoft.com/office/officeart/2005/8/layout/radial3"/>
    <dgm:cxn modelId="{3532B39D-B037-4A28-87F3-0FF9177C6FD6}" type="presParOf" srcId="{C87924DB-CDC0-4A27-A346-8A24EC903B47}" destId="{E82D7AB9-8618-4A87-9D47-34907CA4FF9C}" srcOrd="2" destOrd="0" presId="urn:microsoft.com/office/officeart/2005/8/layout/radial3"/>
    <dgm:cxn modelId="{649F7309-B565-49DD-B9E3-A289D7C358DE}" type="presParOf" srcId="{C87924DB-CDC0-4A27-A346-8A24EC903B47}" destId="{20288196-49E2-4EFC-8C6B-29C67B82C1D3}" srcOrd="3" destOrd="0" presId="urn:microsoft.com/office/officeart/2005/8/layout/radial3"/>
    <dgm:cxn modelId="{ADA00603-3671-4366-9EAA-D29585E804CE}" type="presParOf" srcId="{C87924DB-CDC0-4A27-A346-8A24EC903B47}" destId="{B7F55202-5BBA-434B-BC97-DB8E67BE8E6E}" srcOrd="4" destOrd="0" presId="urn:microsoft.com/office/officeart/2005/8/layout/radial3"/>
    <dgm:cxn modelId="{312F0C7A-0149-47FD-A128-67E26D64C286}" type="presParOf" srcId="{C87924DB-CDC0-4A27-A346-8A24EC903B47}" destId="{9A989307-FFCD-4623-A468-D4DA357B0C95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4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BEE1DC1-18B9-4536-819F-42FDAC26DA1C}" type="doc">
      <dgm:prSet loTypeId="urn:microsoft.com/office/officeart/2005/8/layout/radial3" loCatId="cycle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fr-FR"/>
        </a:p>
      </dgm:t>
    </dgm:pt>
    <dgm:pt modelId="{9ABDC149-F83C-46DF-AADB-1B036C540A63}">
      <dgm:prSet phldrT="[Texte]" custT="1"/>
      <dgm:spPr/>
      <dgm:t>
        <a:bodyPr/>
        <a:lstStyle/>
        <a:p>
          <a:r>
            <a:rPr lang="fr-FR" sz="1400" b="1" dirty="0"/>
            <a:t>Territoires</a:t>
          </a:r>
        </a:p>
        <a:p>
          <a:r>
            <a:rPr lang="fr-FR" sz="1400" b="1" dirty="0"/>
            <a:t>d’expérimentations</a:t>
          </a:r>
        </a:p>
      </dgm:t>
    </dgm:pt>
    <dgm:pt modelId="{2E0F779D-3951-43CA-9C51-5E14F7E8DD15}" type="parTrans" cxnId="{625C83FE-2CB9-4A92-ABE0-ECF210BC783B}">
      <dgm:prSet/>
      <dgm:spPr/>
      <dgm:t>
        <a:bodyPr/>
        <a:lstStyle/>
        <a:p>
          <a:endParaRPr lang="fr-FR"/>
        </a:p>
      </dgm:t>
    </dgm:pt>
    <dgm:pt modelId="{F7A9ED70-8DFB-4CDA-8B22-E82844CB429B}" type="sibTrans" cxnId="{625C83FE-2CB9-4A92-ABE0-ECF210BC783B}">
      <dgm:prSet/>
      <dgm:spPr/>
      <dgm:t>
        <a:bodyPr/>
        <a:lstStyle/>
        <a:p>
          <a:endParaRPr lang="fr-FR"/>
        </a:p>
      </dgm:t>
    </dgm:pt>
    <dgm:pt modelId="{258FB0A1-C781-492C-9C05-4112D2EB1FF4}">
      <dgm:prSet phldrT="[Texte]" custT="1"/>
      <dgm:spPr/>
      <dgm:t>
        <a:bodyPr/>
        <a:lstStyle/>
        <a:p>
          <a:r>
            <a:rPr lang="fr-FR" sz="1400" b="1" dirty="0"/>
            <a:t>Rural</a:t>
          </a:r>
        </a:p>
      </dgm:t>
    </dgm:pt>
    <dgm:pt modelId="{2551E8D3-C96D-43EF-8E68-A74C9B72D67E}" type="parTrans" cxnId="{AFC13FDE-C696-4FA0-A93A-4CC398B66226}">
      <dgm:prSet/>
      <dgm:spPr/>
      <dgm:t>
        <a:bodyPr/>
        <a:lstStyle/>
        <a:p>
          <a:endParaRPr lang="fr-FR"/>
        </a:p>
      </dgm:t>
    </dgm:pt>
    <dgm:pt modelId="{58A168A7-6BB0-4503-A8E2-E7626D02C8D4}" type="sibTrans" cxnId="{AFC13FDE-C696-4FA0-A93A-4CC398B66226}">
      <dgm:prSet/>
      <dgm:spPr/>
      <dgm:t>
        <a:bodyPr/>
        <a:lstStyle/>
        <a:p>
          <a:endParaRPr lang="fr-FR"/>
        </a:p>
      </dgm:t>
    </dgm:pt>
    <dgm:pt modelId="{575580DF-8AA3-4A59-8708-D55F6FD2CD95}">
      <dgm:prSet phldrT="[Texte]" custT="1"/>
      <dgm:spPr/>
      <dgm:t>
        <a:bodyPr/>
        <a:lstStyle/>
        <a:p>
          <a:pPr eaLnBrk="1" latinLnBrk="0"/>
          <a:r>
            <a:rPr lang="fr-FR" sz="1400" b="1" dirty="0"/>
            <a:t>Urbain</a:t>
          </a:r>
        </a:p>
      </dgm:t>
    </dgm:pt>
    <dgm:pt modelId="{20161B3F-54E4-4D0B-B17F-10A96CD2897A}" type="parTrans" cxnId="{A07D6573-F61E-486C-A853-3E2D5CB52B3F}">
      <dgm:prSet/>
      <dgm:spPr/>
      <dgm:t>
        <a:bodyPr/>
        <a:lstStyle/>
        <a:p>
          <a:endParaRPr lang="fr-FR"/>
        </a:p>
      </dgm:t>
    </dgm:pt>
    <dgm:pt modelId="{AAD44955-E874-4B23-8D64-4765FF233950}" type="sibTrans" cxnId="{A07D6573-F61E-486C-A853-3E2D5CB52B3F}">
      <dgm:prSet/>
      <dgm:spPr/>
      <dgm:t>
        <a:bodyPr/>
        <a:lstStyle/>
        <a:p>
          <a:endParaRPr lang="fr-FR"/>
        </a:p>
      </dgm:t>
    </dgm:pt>
    <dgm:pt modelId="{FD7B9FF4-F2FB-46AB-AC21-ECF497B73148}">
      <dgm:prSet phldrT="[Texte]" custT="1"/>
      <dgm:spPr/>
      <dgm:t>
        <a:bodyPr/>
        <a:lstStyle/>
        <a:p>
          <a:pPr eaLnBrk="1" latinLnBrk="0"/>
          <a:r>
            <a:rPr lang="fr-FR" sz="1400" b="1" dirty="0"/>
            <a:t>Sites protégés</a:t>
          </a:r>
        </a:p>
      </dgm:t>
    </dgm:pt>
    <dgm:pt modelId="{7A2F1B14-270D-44F3-9A2F-D2B074C0D92D}" type="parTrans" cxnId="{2EC9E256-7E7B-47A8-8868-5C3A9DE874EA}">
      <dgm:prSet/>
      <dgm:spPr/>
      <dgm:t>
        <a:bodyPr/>
        <a:lstStyle/>
        <a:p>
          <a:endParaRPr lang="fr-FR"/>
        </a:p>
      </dgm:t>
    </dgm:pt>
    <dgm:pt modelId="{993E6A6F-A6A0-43D1-9F7B-1AD9CD33BCAE}" type="sibTrans" cxnId="{2EC9E256-7E7B-47A8-8868-5C3A9DE874EA}">
      <dgm:prSet/>
      <dgm:spPr/>
      <dgm:t>
        <a:bodyPr/>
        <a:lstStyle/>
        <a:p>
          <a:endParaRPr lang="fr-FR"/>
        </a:p>
      </dgm:t>
    </dgm:pt>
    <dgm:pt modelId="{5CEB73FB-103A-4967-A82B-A7EF601234F3}">
      <dgm:prSet phldrT="[Texte]" custT="1"/>
      <dgm:spPr/>
      <dgm:t>
        <a:bodyPr/>
        <a:lstStyle/>
        <a:p>
          <a:pPr eaLnBrk="1" latinLnBrk="0"/>
          <a:r>
            <a:rPr lang="fr-FR" sz="1400" b="1" dirty="0"/>
            <a:t>Péri-urbain</a:t>
          </a:r>
        </a:p>
      </dgm:t>
    </dgm:pt>
    <dgm:pt modelId="{63EF4E19-4C47-4013-A612-AC643B71E0FA}" type="parTrans" cxnId="{1FCB7BEF-3259-45A9-9081-F64F592CC559}">
      <dgm:prSet/>
      <dgm:spPr/>
      <dgm:t>
        <a:bodyPr/>
        <a:lstStyle/>
        <a:p>
          <a:endParaRPr lang="fr-FR"/>
        </a:p>
      </dgm:t>
    </dgm:pt>
    <dgm:pt modelId="{319C962E-74C3-48B3-83A6-4B297622130D}" type="sibTrans" cxnId="{1FCB7BEF-3259-45A9-9081-F64F592CC559}">
      <dgm:prSet/>
      <dgm:spPr/>
      <dgm:t>
        <a:bodyPr/>
        <a:lstStyle/>
        <a:p>
          <a:endParaRPr lang="fr-FR"/>
        </a:p>
      </dgm:t>
    </dgm:pt>
    <dgm:pt modelId="{4A6A2100-940A-4B86-B6D2-F29DFFEF7913}" type="pres">
      <dgm:prSet presAssocID="{EBEE1DC1-18B9-4536-819F-42FDAC26DA1C}" presName="composite" presStyleCnt="0">
        <dgm:presLayoutVars>
          <dgm:chMax val="1"/>
          <dgm:dir/>
          <dgm:resizeHandles val="exact"/>
        </dgm:presLayoutVars>
      </dgm:prSet>
      <dgm:spPr/>
    </dgm:pt>
    <dgm:pt modelId="{C87924DB-CDC0-4A27-A346-8A24EC903B47}" type="pres">
      <dgm:prSet presAssocID="{EBEE1DC1-18B9-4536-819F-42FDAC26DA1C}" presName="radial" presStyleCnt="0">
        <dgm:presLayoutVars>
          <dgm:animLvl val="ctr"/>
        </dgm:presLayoutVars>
      </dgm:prSet>
      <dgm:spPr/>
    </dgm:pt>
    <dgm:pt modelId="{B92A41B1-BB88-47FE-AAB9-7E208E97E579}" type="pres">
      <dgm:prSet presAssocID="{9ABDC149-F83C-46DF-AADB-1B036C540A63}" presName="centerShape" presStyleLbl="vennNode1" presStyleIdx="0" presStyleCnt="5" custScaleX="92663" custScaleY="58642" custLinFactNeighborY="-1389"/>
      <dgm:spPr/>
    </dgm:pt>
    <dgm:pt modelId="{E82D7AB9-8618-4A87-9D47-34907CA4FF9C}" type="pres">
      <dgm:prSet presAssocID="{FD7B9FF4-F2FB-46AB-AC21-ECF497B73148}" presName="node" presStyleLbl="vennNode1" presStyleIdx="1" presStyleCnt="5" custScaleX="89479" custScaleY="56484" custRadScaleRad="47430" custRadScaleInc="5141">
        <dgm:presLayoutVars>
          <dgm:bulletEnabled val="1"/>
        </dgm:presLayoutVars>
      </dgm:prSet>
      <dgm:spPr/>
    </dgm:pt>
    <dgm:pt modelId="{20288196-49E2-4EFC-8C6B-29C67B82C1D3}" type="pres">
      <dgm:prSet presAssocID="{258FB0A1-C781-492C-9C05-4112D2EB1FF4}" presName="node" presStyleLbl="vennNode1" presStyleIdx="2" presStyleCnt="5" custScaleX="80328" custScaleY="61040" custRadScaleRad="100993" custRadScaleInc="1853">
        <dgm:presLayoutVars>
          <dgm:bulletEnabled val="1"/>
        </dgm:presLayoutVars>
      </dgm:prSet>
      <dgm:spPr/>
    </dgm:pt>
    <dgm:pt modelId="{B7F55202-5BBA-434B-BC97-DB8E67BE8E6E}" type="pres">
      <dgm:prSet presAssocID="{5CEB73FB-103A-4967-A82B-A7EF601234F3}" presName="node" presStyleLbl="vennNode1" presStyleIdx="3" presStyleCnt="5" custScaleX="88764" custScaleY="62049" custRadScaleRad="59217" custRadScaleInc="-13254">
        <dgm:presLayoutVars>
          <dgm:bulletEnabled val="1"/>
        </dgm:presLayoutVars>
      </dgm:prSet>
      <dgm:spPr/>
    </dgm:pt>
    <dgm:pt modelId="{9A989307-FFCD-4623-A468-D4DA357B0C95}" type="pres">
      <dgm:prSet presAssocID="{575580DF-8AA3-4A59-8708-D55F6FD2CD95}" presName="node" presStyleLbl="vennNode1" presStyleIdx="4" presStyleCnt="5" custScaleX="82695" custScaleY="81163" custRadScaleRad="94578" custRadScaleInc="409">
        <dgm:presLayoutVars>
          <dgm:bulletEnabled val="1"/>
        </dgm:presLayoutVars>
      </dgm:prSet>
      <dgm:spPr/>
    </dgm:pt>
  </dgm:ptLst>
  <dgm:cxnLst>
    <dgm:cxn modelId="{4DE8D33B-3131-4179-B659-A24F131C4665}" type="presOf" srcId="{EBEE1DC1-18B9-4536-819F-42FDAC26DA1C}" destId="{4A6A2100-940A-4B86-B6D2-F29DFFEF7913}" srcOrd="0" destOrd="0" presId="urn:microsoft.com/office/officeart/2005/8/layout/radial3"/>
    <dgm:cxn modelId="{44F9D93F-9E15-4214-AE4F-4C3947D6B8BB}" type="presOf" srcId="{9ABDC149-F83C-46DF-AADB-1B036C540A63}" destId="{B92A41B1-BB88-47FE-AAB9-7E208E97E579}" srcOrd="0" destOrd="0" presId="urn:microsoft.com/office/officeart/2005/8/layout/radial3"/>
    <dgm:cxn modelId="{2EC9E256-7E7B-47A8-8868-5C3A9DE874EA}" srcId="{9ABDC149-F83C-46DF-AADB-1B036C540A63}" destId="{FD7B9FF4-F2FB-46AB-AC21-ECF497B73148}" srcOrd="0" destOrd="0" parTransId="{7A2F1B14-270D-44F3-9A2F-D2B074C0D92D}" sibTransId="{993E6A6F-A6A0-43D1-9F7B-1AD9CD33BCAE}"/>
    <dgm:cxn modelId="{32EE416E-7E9D-4395-AFA3-1180EA5D196D}" type="presOf" srcId="{5CEB73FB-103A-4967-A82B-A7EF601234F3}" destId="{B7F55202-5BBA-434B-BC97-DB8E67BE8E6E}" srcOrd="0" destOrd="0" presId="urn:microsoft.com/office/officeart/2005/8/layout/radial3"/>
    <dgm:cxn modelId="{A07D6573-F61E-486C-A853-3E2D5CB52B3F}" srcId="{9ABDC149-F83C-46DF-AADB-1B036C540A63}" destId="{575580DF-8AA3-4A59-8708-D55F6FD2CD95}" srcOrd="3" destOrd="0" parTransId="{20161B3F-54E4-4D0B-B17F-10A96CD2897A}" sibTransId="{AAD44955-E874-4B23-8D64-4765FF233950}"/>
    <dgm:cxn modelId="{B9860E9A-B6FE-4C58-A1DF-740B75737F11}" type="presOf" srcId="{575580DF-8AA3-4A59-8708-D55F6FD2CD95}" destId="{9A989307-FFCD-4623-A468-D4DA357B0C95}" srcOrd="0" destOrd="0" presId="urn:microsoft.com/office/officeart/2005/8/layout/radial3"/>
    <dgm:cxn modelId="{3BBAE0C0-3CE2-4BEC-B919-FB74E7E31C63}" type="presOf" srcId="{FD7B9FF4-F2FB-46AB-AC21-ECF497B73148}" destId="{E82D7AB9-8618-4A87-9D47-34907CA4FF9C}" srcOrd="0" destOrd="0" presId="urn:microsoft.com/office/officeart/2005/8/layout/radial3"/>
    <dgm:cxn modelId="{535106CD-A5F8-4D1D-8C5B-DAB0BB5CFE1B}" type="presOf" srcId="{258FB0A1-C781-492C-9C05-4112D2EB1FF4}" destId="{20288196-49E2-4EFC-8C6B-29C67B82C1D3}" srcOrd="0" destOrd="0" presId="urn:microsoft.com/office/officeart/2005/8/layout/radial3"/>
    <dgm:cxn modelId="{AFC13FDE-C696-4FA0-A93A-4CC398B66226}" srcId="{9ABDC149-F83C-46DF-AADB-1B036C540A63}" destId="{258FB0A1-C781-492C-9C05-4112D2EB1FF4}" srcOrd="1" destOrd="0" parTransId="{2551E8D3-C96D-43EF-8E68-A74C9B72D67E}" sibTransId="{58A168A7-6BB0-4503-A8E2-E7626D02C8D4}"/>
    <dgm:cxn modelId="{1FCB7BEF-3259-45A9-9081-F64F592CC559}" srcId="{9ABDC149-F83C-46DF-AADB-1B036C540A63}" destId="{5CEB73FB-103A-4967-A82B-A7EF601234F3}" srcOrd="2" destOrd="0" parTransId="{63EF4E19-4C47-4013-A612-AC643B71E0FA}" sibTransId="{319C962E-74C3-48B3-83A6-4B297622130D}"/>
    <dgm:cxn modelId="{625C83FE-2CB9-4A92-ABE0-ECF210BC783B}" srcId="{EBEE1DC1-18B9-4536-819F-42FDAC26DA1C}" destId="{9ABDC149-F83C-46DF-AADB-1B036C540A63}" srcOrd="0" destOrd="0" parTransId="{2E0F779D-3951-43CA-9C51-5E14F7E8DD15}" sibTransId="{F7A9ED70-8DFB-4CDA-8B22-E82844CB429B}"/>
    <dgm:cxn modelId="{DC138DA1-F51A-4552-AE9F-69ACFDD6FF36}" type="presParOf" srcId="{4A6A2100-940A-4B86-B6D2-F29DFFEF7913}" destId="{C87924DB-CDC0-4A27-A346-8A24EC903B47}" srcOrd="0" destOrd="0" presId="urn:microsoft.com/office/officeart/2005/8/layout/radial3"/>
    <dgm:cxn modelId="{F407A57D-433C-4B7B-BB4A-99FBD18F0978}" type="presParOf" srcId="{C87924DB-CDC0-4A27-A346-8A24EC903B47}" destId="{B92A41B1-BB88-47FE-AAB9-7E208E97E579}" srcOrd="0" destOrd="0" presId="urn:microsoft.com/office/officeart/2005/8/layout/radial3"/>
    <dgm:cxn modelId="{3532B39D-B037-4A28-87F3-0FF9177C6FD6}" type="presParOf" srcId="{C87924DB-CDC0-4A27-A346-8A24EC903B47}" destId="{E82D7AB9-8618-4A87-9D47-34907CA4FF9C}" srcOrd="1" destOrd="0" presId="urn:microsoft.com/office/officeart/2005/8/layout/radial3"/>
    <dgm:cxn modelId="{649F7309-B565-49DD-B9E3-A289D7C358DE}" type="presParOf" srcId="{C87924DB-CDC0-4A27-A346-8A24EC903B47}" destId="{20288196-49E2-4EFC-8C6B-29C67B82C1D3}" srcOrd="2" destOrd="0" presId="urn:microsoft.com/office/officeart/2005/8/layout/radial3"/>
    <dgm:cxn modelId="{ADA00603-3671-4366-9EAA-D29585E804CE}" type="presParOf" srcId="{C87924DB-CDC0-4A27-A346-8A24EC903B47}" destId="{B7F55202-5BBA-434B-BC97-DB8E67BE8E6E}" srcOrd="3" destOrd="0" presId="urn:microsoft.com/office/officeart/2005/8/layout/radial3"/>
    <dgm:cxn modelId="{312F0C7A-0149-47FD-A128-67E26D64C286}" type="presParOf" srcId="{C87924DB-CDC0-4A27-A346-8A24EC903B47}" destId="{9A989307-FFCD-4623-A468-D4DA357B0C95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49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21695DF-C307-457A-86B9-04FBA58DC1E9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85DBA57-46CD-4C06-905B-D3AB31168A3A}">
      <dgm:prSet phldrT="[Texte]" custT="1"/>
      <dgm:spPr>
        <a:solidFill>
          <a:srgbClr val="35496D"/>
        </a:solidFill>
      </dgm:spPr>
      <dgm:t>
        <a:bodyPr/>
        <a:lstStyle/>
        <a:p>
          <a:r>
            <a:rPr lang="fr-FR" sz="800" dirty="0">
              <a:latin typeface="Univers Condensed" panose="020B0506020202050204" pitchFamily="34" charset="0"/>
            </a:rPr>
            <a:t>Sécurité et domaine d’emploi</a:t>
          </a:r>
        </a:p>
      </dgm:t>
    </dgm:pt>
    <dgm:pt modelId="{155C6E6E-8432-4FCF-9053-92AD80790EF9}" type="parTrans" cxnId="{6D764213-DFE0-44DD-AF51-9B1D11ADBCE2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C59F38D9-3E4D-4F87-8C7C-080AAF984152}" type="sibTrans" cxnId="{6D764213-DFE0-44DD-AF51-9B1D11ADBCE2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44776DA4-CCBC-4E63-8773-E34928E2B66A}">
      <dgm:prSet phldrT="[Texte]" custT="1"/>
      <dgm:spPr>
        <a:solidFill>
          <a:schemeClr val="accent2"/>
        </a:solidFill>
      </dgm:spPr>
      <dgm:t>
        <a:bodyPr/>
        <a:lstStyle/>
        <a:p>
          <a:r>
            <a:rPr lang="fr-FR" sz="800" dirty="0">
              <a:latin typeface="Univers Condensed" panose="020B0506020202050204" pitchFamily="34" charset="0"/>
            </a:rPr>
            <a:t>Acceptabilité</a:t>
          </a:r>
        </a:p>
      </dgm:t>
    </dgm:pt>
    <dgm:pt modelId="{55320962-E8A7-496F-80AD-49C188098F78}" type="parTrans" cxnId="{D27908E6-D5CD-40A4-B081-B965E11550DE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729A71FC-DAAC-466C-AF60-F21F5134C2E8}" type="sibTrans" cxnId="{D27908E6-D5CD-40A4-B081-B965E11550DE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AE13FDF7-D166-4993-883E-1723A59DB072}">
      <dgm:prSet phldrT="[Texte]" custT="1"/>
      <dgm:spPr>
        <a:solidFill>
          <a:schemeClr val="accent3"/>
        </a:solidFill>
      </dgm:spPr>
      <dgm:t>
        <a:bodyPr/>
        <a:lstStyle/>
        <a:p>
          <a:r>
            <a:rPr lang="fr-FR" sz="800" dirty="0">
              <a:latin typeface="Univers Condensed" panose="020B0506020202050204" pitchFamily="34" charset="0"/>
            </a:rPr>
            <a:t>Comportement</a:t>
          </a:r>
        </a:p>
      </dgm:t>
    </dgm:pt>
    <dgm:pt modelId="{51D7BF4D-1AA7-4E25-871E-C9CFE481A543}" type="parTrans" cxnId="{6D1F1C0E-6CAB-4D59-A155-CCA41678ACBF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A96E596D-125B-4190-9720-E40C8EC4BDD2}" type="sibTrans" cxnId="{6D1F1C0E-6CAB-4D59-A155-CCA41678ACBF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3505F510-5612-4C37-A38F-2F724031399D}">
      <dgm:prSet phldrT="[Texte]" custT="1"/>
      <dgm:spPr>
        <a:solidFill>
          <a:schemeClr val="accent4"/>
        </a:solidFill>
      </dgm:spPr>
      <dgm:t>
        <a:bodyPr/>
        <a:lstStyle/>
        <a:p>
          <a:r>
            <a:rPr lang="fr-FR" sz="800" dirty="0">
              <a:latin typeface="Univers Condensed" panose="020B0506020202050204" pitchFamily="34" charset="0"/>
            </a:rPr>
            <a:t>Environnement</a:t>
          </a:r>
        </a:p>
      </dgm:t>
    </dgm:pt>
    <dgm:pt modelId="{F86CBB44-7696-4E4B-9E44-D53FD246A967}" type="parTrans" cxnId="{2E8B2AF3-52D4-4667-B966-19745E3B0A9D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04275442-29ED-4BC1-8A8C-863EE2F0447D}" type="sibTrans" cxnId="{2E8B2AF3-52D4-4667-B966-19745E3B0A9D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655C0F0B-499C-4FB2-B1A0-9001CAD23386}">
      <dgm:prSet phldrT="[Texte]" custT="1"/>
      <dgm:spPr>
        <a:solidFill>
          <a:srgbClr val="00B0F0"/>
        </a:solidFill>
      </dgm:spPr>
      <dgm:t>
        <a:bodyPr/>
        <a:lstStyle/>
        <a:p>
          <a:r>
            <a:rPr lang="fr-FR" sz="800" dirty="0">
              <a:latin typeface="Univers Condensed" panose="020B0506020202050204" pitchFamily="34" charset="0"/>
            </a:rPr>
            <a:t>Economique et sociétal</a:t>
          </a:r>
        </a:p>
      </dgm:t>
    </dgm:pt>
    <dgm:pt modelId="{0C3C0AE5-923B-410D-BD24-18AACD062F9B}" type="parTrans" cxnId="{EF5BE061-BB0E-43B6-9850-6BF85246D974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930C0464-A6D6-493F-BA72-5265DFE3CCAE}" type="sibTrans" cxnId="{EF5BE061-BB0E-43B6-9850-6BF85246D974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7F4D3CFD-7F7D-4DB5-BC1C-20C4D75D20EE}">
      <dgm:prSet phldrT="[Texte]" custT="1"/>
      <dgm:spPr>
        <a:solidFill>
          <a:schemeClr val="accent1"/>
        </a:solidFill>
      </dgm:spPr>
      <dgm:t>
        <a:bodyPr/>
        <a:lstStyle/>
        <a:p>
          <a:r>
            <a:rPr lang="fr-FR" sz="800">
              <a:latin typeface="Univers Condensed" panose="020B0506020202050204" pitchFamily="34" charset="0"/>
            </a:rPr>
            <a:t>Trafic</a:t>
          </a:r>
        </a:p>
      </dgm:t>
    </dgm:pt>
    <dgm:pt modelId="{E38E321C-ED64-4928-AFD8-98BC69353DD2}" type="parTrans" cxnId="{5812A028-80AC-4069-A10B-F28306DF66E4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4DD82EE1-777D-4E33-A1C5-DE3A15F78973}" type="sibTrans" cxnId="{5812A028-80AC-4069-A10B-F28306DF66E4}">
      <dgm:prSet/>
      <dgm:spPr/>
      <dgm:t>
        <a:bodyPr/>
        <a:lstStyle/>
        <a:p>
          <a:endParaRPr lang="fr-FR" sz="1000">
            <a:latin typeface="Univers Condensed" panose="020B0506020202050204" pitchFamily="34" charset="0"/>
          </a:endParaRPr>
        </a:p>
      </dgm:t>
    </dgm:pt>
    <dgm:pt modelId="{3E77234F-CC64-4FAC-9A58-BC3F7FCAA5E3}">
      <dgm:prSet phldrT="[Texte]" custT="1"/>
      <dgm:spPr>
        <a:solidFill>
          <a:srgbClr val="ED425D"/>
        </a:solidFill>
      </dgm:spPr>
      <dgm:t>
        <a:bodyPr/>
        <a:lstStyle/>
        <a:p>
          <a:r>
            <a:rPr lang="fr-FR" sz="800" dirty="0">
              <a:latin typeface="Univers Condensed" panose="020B0506020202050204" pitchFamily="34" charset="0"/>
            </a:rPr>
            <a:t>Performance du service</a:t>
          </a:r>
        </a:p>
      </dgm:t>
    </dgm:pt>
    <dgm:pt modelId="{EC26D815-31CA-4ADA-9101-570402C44807}" type="parTrans" cxnId="{B14BBB0D-C957-4860-A101-9FDB0792FDFA}">
      <dgm:prSet/>
      <dgm:spPr/>
      <dgm:t>
        <a:bodyPr/>
        <a:lstStyle/>
        <a:p>
          <a:endParaRPr lang="fr-FR"/>
        </a:p>
      </dgm:t>
    </dgm:pt>
    <dgm:pt modelId="{8E0C8E89-6EFF-41D0-966C-47887C1C50C9}" type="sibTrans" cxnId="{B14BBB0D-C957-4860-A101-9FDB0792FDFA}">
      <dgm:prSet/>
      <dgm:spPr/>
      <dgm:t>
        <a:bodyPr/>
        <a:lstStyle/>
        <a:p>
          <a:endParaRPr lang="fr-FR"/>
        </a:p>
      </dgm:t>
    </dgm:pt>
    <dgm:pt modelId="{3B97C86A-025D-4D7E-A4F4-E75A071F9DE1}" type="pres">
      <dgm:prSet presAssocID="{F21695DF-C307-457A-86B9-04FBA58DC1E9}" presName="cycle" presStyleCnt="0">
        <dgm:presLayoutVars>
          <dgm:dir/>
          <dgm:resizeHandles val="exact"/>
        </dgm:presLayoutVars>
      </dgm:prSet>
      <dgm:spPr/>
    </dgm:pt>
    <dgm:pt modelId="{65E28CCA-3510-45FC-ABB2-960EE41E5A38}" type="pres">
      <dgm:prSet presAssocID="{A85DBA57-46CD-4C06-905B-D3AB31168A3A}" presName="node" presStyleLbl="node1" presStyleIdx="0" presStyleCnt="7" custScaleX="130431">
        <dgm:presLayoutVars>
          <dgm:bulletEnabled val="1"/>
        </dgm:presLayoutVars>
      </dgm:prSet>
      <dgm:spPr/>
    </dgm:pt>
    <dgm:pt modelId="{3AD47ED4-5381-4C95-9CD0-32834D6425B5}" type="pres">
      <dgm:prSet presAssocID="{A85DBA57-46CD-4C06-905B-D3AB31168A3A}" presName="spNode" presStyleCnt="0"/>
      <dgm:spPr/>
    </dgm:pt>
    <dgm:pt modelId="{44466C35-85AC-486C-857B-D6F3E2428B2F}" type="pres">
      <dgm:prSet presAssocID="{C59F38D9-3E4D-4F87-8C7C-080AAF984152}" presName="sibTrans" presStyleLbl="sibTrans1D1" presStyleIdx="0" presStyleCnt="7"/>
      <dgm:spPr/>
    </dgm:pt>
    <dgm:pt modelId="{C030FC3A-D8DE-4582-BD01-A32F0FE232DB}" type="pres">
      <dgm:prSet presAssocID="{44776DA4-CCBC-4E63-8773-E34928E2B66A}" presName="node" presStyleLbl="node1" presStyleIdx="1" presStyleCnt="7" custScaleX="130431">
        <dgm:presLayoutVars>
          <dgm:bulletEnabled val="1"/>
        </dgm:presLayoutVars>
      </dgm:prSet>
      <dgm:spPr/>
    </dgm:pt>
    <dgm:pt modelId="{E5F0F857-C6B6-4B46-B1FA-2FD807F017AE}" type="pres">
      <dgm:prSet presAssocID="{44776DA4-CCBC-4E63-8773-E34928E2B66A}" presName="spNode" presStyleCnt="0"/>
      <dgm:spPr/>
    </dgm:pt>
    <dgm:pt modelId="{4B447BD7-6AF5-4580-934B-A700CB18F9F2}" type="pres">
      <dgm:prSet presAssocID="{729A71FC-DAAC-466C-AF60-F21F5134C2E8}" presName="sibTrans" presStyleLbl="sibTrans1D1" presStyleIdx="1" presStyleCnt="7"/>
      <dgm:spPr/>
    </dgm:pt>
    <dgm:pt modelId="{982DA65E-8B46-4804-831C-48E8F9A73764}" type="pres">
      <dgm:prSet presAssocID="{AE13FDF7-D166-4993-883E-1723A59DB072}" presName="node" presStyleLbl="node1" presStyleIdx="2" presStyleCnt="7" custScaleX="130431">
        <dgm:presLayoutVars>
          <dgm:bulletEnabled val="1"/>
        </dgm:presLayoutVars>
      </dgm:prSet>
      <dgm:spPr/>
    </dgm:pt>
    <dgm:pt modelId="{23467E41-56BD-45CE-8054-0DE488982AB0}" type="pres">
      <dgm:prSet presAssocID="{AE13FDF7-D166-4993-883E-1723A59DB072}" presName="spNode" presStyleCnt="0"/>
      <dgm:spPr/>
    </dgm:pt>
    <dgm:pt modelId="{0909183D-5F52-4E69-A4F7-1E631149D235}" type="pres">
      <dgm:prSet presAssocID="{A96E596D-125B-4190-9720-E40C8EC4BDD2}" presName="sibTrans" presStyleLbl="sibTrans1D1" presStyleIdx="2" presStyleCnt="7"/>
      <dgm:spPr/>
    </dgm:pt>
    <dgm:pt modelId="{3B4BE6D7-1F70-4799-ABF5-3C040EDEE076}" type="pres">
      <dgm:prSet presAssocID="{3505F510-5612-4C37-A38F-2F724031399D}" presName="node" presStyleLbl="node1" presStyleIdx="3" presStyleCnt="7" custScaleX="130431">
        <dgm:presLayoutVars>
          <dgm:bulletEnabled val="1"/>
        </dgm:presLayoutVars>
      </dgm:prSet>
      <dgm:spPr/>
    </dgm:pt>
    <dgm:pt modelId="{8F744BD1-99C3-41B1-8015-4D0D00AADAF1}" type="pres">
      <dgm:prSet presAssocID="{3505F510-5612-4C37-A38F-2F724031399D}" presName="spNode" presStyleCnt="0"/>
      <dgm:spPr/>
    </dgm:pt>
    <dgm:pt modelId="{DFBC23F5-EB45-4C10-85C8-47BC919B3AD0}" type="pres">
      <dgm:prSet presAssocID="{04275442-29ED-4BC1-8A8C-863EE2F0447D}" presName="sibTrans" presStyleLbl="sibTrans1D1" presStyleIdx="3" presStyleCnt="7"/>
      <dgm:spPr/>
    </dgm:pt>
    <dgm:pt modelId="{01387A35-63C4-4321-9FB6-1726F6EDA581}" type="pres">
      <dgm:prSet presAssocID="{7F4D3CFD-7F7D-4DB5-BC1C-20C4D75D20EE}" presName="node" presStyleLbl="node1" presStyleIdx="4" presStyleCnt="7" custScaleX="130493">
        <dgm:presLayoutVars>
          <dgm:bulletEnabled val="1"/>
        </dgm:presLayoutVars>
      </dgm:prSet>
      <dgm:spPr/>
    </dgm:pt>
    <dgm:pt modelId="{44A29D9C-1DCC-43BD-9FAE-8EE65D50F7A6}" type="pres">
      <dgm:prSet presAssocID="{7F4D3CFD-7F7D-4DB5-BC1C-20C4D75D20EE}" presName="spNode" presStyleCnt="0"/>
      <dgm:spPr/>
    </dgm:pt>
    <dgm:pt modelId="{7525D05D-7BDA-46A8-97EB-245205390E79}" type="pres">
      <dgm:prSet presAssocID="{4DD82EE1-777D-4E33-A1C5-DE3A15F78973}" presName="sibTrans" presStyleLbl="sibTrans1D1" presStyleIdx="4" presStyleCnt="7"/>
      <dgm:spPr/>
    </dgm:pt>
    <dgm:pt modelId="{5E56C7DB-C707-49AC-BC53-46070ED189FD}" type="pres">
      <dgm:prSet presAssocID="{3E77234F-CC64-4FAC-9A58-BC3F7FCAA5E3}" presName="node" presStyleLbl="node1" presStyleIdx="5" presStyleCnt="7" custScaleX="130493">
        <dgm:presLayoutVars>
          <dgm:bulletEnabled val="1"/>
        </dgm:presLayoutVars>
      </dgm:prSet>
      <dgm:spPr/>
    </dgm:pt>
    <dgm:pt modelId="{5AF2E7D1-B15B-4291-85E0-528E0D4ADCBD}" type="pres">
      <dgm:prSet presAssocID="{3E77234F-CC64-4FAC-9A58-BC3F7FCAA5E3}" presName="spNode" presStyleCnt="0"/>
      <dgm:spPr/>
    </dgm:pt>
    <dgm:pt modelId="{35291467-B2CC-4BFD-A7A9-1B628A6A9AED}" type="pres">
      <dgm:prSet presAssocID="{8E0C8E89-6EFF-41D0-966C-47887C1C50C9}" presName="sibTrans" presStyleLbl="sibTrans1D1" presStyleIdx="5" presStyleCnt="7"/>
      <dgm:spPr/>
    </dgm:pt>
    <dgm:pt modelId="{5F74E61D-4E77-4825-B6B3-ED9BA081B79E}" type="pres">
      <dgm:prSet presAssocID="{655C0F0B-499C-4FB2-B1A0-9001CAD23386}" presName="node" presStyleLbl="node1" presStyleIdx="6" presStyleCnt="7" custScaleX="130431">
        <dgm:presLayoutVars>
          <dgm:bulletEnabled val="1"/>
        </dgm:presLayoutVars>
      </dgm:prSet>
      <dgm:spPr/>
    </dgm:pt>
    <dgm:pt modelId="{D14B426C-2342-4ACD-8306-566592FA29A3}" type="pres">
      <dgm:prSet presAssocID="{655C0F0B-499C-4FB2-B1A0-9001CAD23386}" presName="spNode" presStyleCnt="0"/>
      <dgm:spPr/>
    </dgm:pt>
    <dgm:pt modelId="{3D62362D-83F0-4F76-A36B-9EB6ACB8EC4D}" type="pres">
      <dgm:prSet presAssocID="{930C0464-A6D6-493F-BA72-5265DFE3CCAE}" presName="sibTrans" presStyleLbl="sibTrans1D1" presStyleIdx="6" presStyleCnt="7"/>
      <dgm:spPr/>
    </dgm:pt>
  </dgm:ptLst>
  <dgm:cxnLst>
    <dgm:cxn modelId="{85924604-7DD0-4961-AC74-25720A227131}" type="presOf" srcId="{729A71FC-DAAC-466C-AF60-F21F5134C2E8}" destId="{4B447BD7-6AF5-4580-934B-A700CB18F9F2}" srcOrd="0" destOrd="0" presId="urn:microsoft.com/office/officeart/2005/8/layout/cycle6"/>
    <dgm:cxn modelId="{B14BBB0D-C957-4860-A101-9FDB0792FDFA}" srcId="{F21695DF-C307-457A-86B9-04FBA58DC1E9}" destId="{3E77234F-CC64-4FAC-9A58-BC3F7FCAA5E3}" srcOrd="5" destOrd="0" parTransId="{EC26D815-31CA-4ADA-9101-570402C44807}" sibTransId="{8E0C8E89-6EFF-41D0-966C-47887C1C50C9}"/>
    <dgm:cxn modelId="{6D1F1C0E-6CAB-4D59-A155-CCA41678ACBF}" srcId="{F21695DF-C307-457A-86B9-04FBA58DC1E9}" destId="{AE13FDF7-D166-4993-883E-1723A59DB072}" srcOrd="2" destOrd="0" parTransId="{51D7BF4D-1AA7-4E25-871E-C9CFE481A543}" sibTransId="{A96E596D-125B-4190-9720-E40C8EC4BDD2}"/>
    <dgm:cxn modelId="{6D764213-DFE0-44DD-AF51-9B1D11ADBCE2}" srcId="{F21695DF-C307-457A-86B9-04FBA58DC1E9}" destId="{A85DBA57-46CD-4C06-905B-D3AB31168A3A}" srcOrd="0" destOrd="0" parTransId="{155C6E6E-8432-4FCF-9053-92AD80790EF9}" sibTransId="{C59F38D9-3E4D-4F87-8C7C-080AAF984152}"/>
    <dgm:cxn modelId="{5812A028-80AC-4069-A10B-F28306DF66E4}" srcId="{F21695DF-C307-457A-86B9-04FBA58DC1E9}" destId="{7F4D3CFD-7F7D-4DB5-BC1C-20C4D75D20EE}" srcOrd="4" destOrd="0" parTransId="{E38E321C-ED64-4928-AFD8-98BC69353DD2}" sibTransId="{4DD82EE1-777D-4E33-A1C5-DE3A15F78973}"/>
    <dgm:cxn modelId="{3E9E8D2D-A6AA-4701-8941-E9F4DFDE33B1}" type="presOf" srcId="{4DD82EE1-777D-4E33-A1C5-DE3A15F78973}" destId="{7525D05D-7BDA-46A8-97EB-245205390E79}" srcOrd="0" destOrd="0" presId="urn:microsoft.com/office/officeart/2005/8/layout/cycle6"/>
    <dgm:cxn modelId="{64885134-AA1D-4152-BF51-A92FC1F54A7D}" type="presOf" srcId="{44776DA4-CCBC-4E63-8773-E34928E2B66A}" destId="{C030FC3A-D8DE-4582-BD01-A32F0FE232DB}" srcOrd="0" destOrd="0" presId="urn:microsoft.com/office/officeart/2005/8/layout/cycle6"/>
    <dgm:cxn modelId="{4D758F3C-1751-4F98-8ADD-FE0C9FF3C1D0}" type="presOf" srcId="{A96E596D-125B-4190-9720-E40C8EC4BDD2}" destId="{0909183D-5F52-4E69-A4F7-1E631149D235}" srcOrd="0" destOrd="0" presId="urn:microsoft.com/office/officeart/2005/8/layout/cycle6"/>
    <dgm:cxn modelId="{1D182D56-77CC-4A38-BBF1-193285F436F4}" type="presOf" srcId="{C59F38D9-3E4D-4F87-8C7C-080AAF984152}" destId="{44466C35-85AC-486C-857B-D6F3E2428B2F}" srcOrd="0" destOrd="0" presId="urn:microsoft.com/office/officeart/2005/8/layout/cycle6"/>
    <dgm:cxn modelId="{EF5BE061-BB0E-43B6-9850-6BF85246D974}" srcId="{F21695DF-C307-457A-86B9-04FBA58DC1E9}" destId="{655C0F0B-499C-4FB2-B1A0-9001CAD23386}" srcOrd="6" destOrd="0" parTransId="{0C3C0AE5-923B-410D-BD24-18AACD062F9B}" sibTransId="{930C0464-A6D6-493F-BA72-5265DFE3CCAE}"/>
    <dgm:cxn modelId="{EE40776E-A51B-495B-A654-7C1971B21C99}" type="presOf" srcId="{930C0464-A6D6-493F-BA72-5265DFE3CCAE}" destId="{3D62362D-83F0-4F76-A36B-9EB6ACB8EC4D}" srcOrd="0" destOrd="0" presId="urn:microsoft.com/office/officeart/2005/8/layout/cycle6"/>
    <dgm:cxn modelId="{9E285B78-CC57-403F-8D26-1E9323D8E001}" type="presOf" srcId="{A85DBA57-46CD-4C06-905B-D3AB31168A3A}" destId="{65E28CCA-3510-45FC-ABB2-960EE41E5A38}" srcOrd="0" destOrd="0" presId="urn:microsoft.com/office/officeart/2005/8/layout/cycle6"/>
    <dgm:cxn modelId="{25D86378-BEBA-4C07-BF21-0D39C8355FBA}" type="presOf" srcId="{655C0F0B-499C-4FB2-B1A0-9001CAD23386}" destId="{5F74E61D-4E77-4825-B6B3-ED9BA081B79E}" srcOrd="0" destOrd="0" presId="urn:microsoft.com/office/officeart/2005/8/layout/cycle6"/>
    <dgm:cxn modelId="{56650F80-FACF-422F-84A3-4220802893E8}" type="presOf" srcId="{7F4D3CFD-7F7D-4DB5-BC1C-20C4D75D20EE}" destId="{01387A35-63C4-4321-9FB6-1726F6EDA581}" srcOrd="0" destOrd="0" presId="urn:microsoft.com/office/officeart/2005/8/layout/cycle6"/>
    <dgm:cxn modelId="{3FA74BA5-B0CA-4C78-A9B3-C70A5121BC84}" type="presOf" srcId="{3505F510-5612-4C37-A38F-2F724031399D}" destId="{3B4BE6D7-1F70-4799-ABF5-3C040EDEE076}" srcOrd="0" destOrd="0" presId="urn:microsoft.com/office/officeart/2005/8/layout/cycle6"/>
    <dgm:cxn modelId="{84B97BA9-34E6-4F82-9827-93C669EE6BA9}" type="presOf" srcId="{3E77234F-CC64-4FAC-9A58-BC3F7FCAA5E3}" destId="{5E56C7DB-C707-49AC-BC53-46070ED189FD}" srcOrd="0" destOrd="0" presId="urn:microsoft.com/office/officeart/2005/8/layout/cycle6"/>
    <dgm:cxn modelId="{DCD3A0B9-2A7E-4F7D-97E8-CFE85EB3589A}" type="presOf" srcId="{8E0C8E89-6EFF-41D0-966C-47887C1C50C9}" destId="{35291467-B2CC-4BFD-A7A9-1B628A6A9AED}" srcOrd="0" destOrd="0" presId="urn:microsoft.com/office/officeart/2005/8/layout/cycle6"/>
    <dgm:cxn modelId="{289E08C4-4FB2-47D5-8D2C-C02EAACDD383}" type="presOf" srcId="{04275442-29ED-4BC1-8A8C-863EE2F0447D}" destId="{DFBC23F5-EB45-4C10-85C8-47BC919B3AD0}" srcOrd="0" destOrd="0" presId="urn:microsoft.com/office/officeart/2005/8/layout/cycle6"/>
    <dgm:cxn modelId="{1C0F2AE3-1843-47D6-B565-AFF4330CCA0F}" type="presOf" srcId="{F21695DF-C307-457A-86B9-04FBA58DC1E9}" destId="{3B97C86A-025D-4D7E-A4F4-E75A071F9DE1}" srcOrd="0" destOrd="0" presId="urn:microsoft.com/office/officeart/2005/8/layout/cycle6"/>
    <dgm:cxn modelId="{D27908E6-D5CD-40A4-B081-B965E11550DE}" srcId="{F21695DF-C307-457A-86B9-04FBA58DC1E9}" destId="{44776DA4-CCBC-4E63-8773-E34928E2B66A}" srcOrd="1" destOrd="0" parTransId="{55320962-E8A7-496F-80AD-49C188098F78}" sibTransId="{729A71FC-DAAC-466C-AF60-F21F5134C2E8}"/>
    <dgm:cxn modelId="{2E8B2AF3-52D4-4667-B966-19745E3B0A9D}" srcId="{F21695DF-C307-457A-86B9-04FBA58DC1E9}" destId="{3505F510-5612-4C37-A38F-2F724031399D}" srcOrd="3" destOrd="0" parTransId="{F86CBB44-7696-4E4B-9E44-D53FD246A967}" sibTransId="{04275442-29ED-4BC1-8A8C-863EE2F0447D}"/>
    <dgm:cxn modelId="{070352FD-18B2-4F75-BDE8-D8044543D57F}" type="presOf" srcId="{AE13FDF7-D166-4993-883E-1723A59DB072}" destId="{982DA65E-8B46-4804-831C-48E8F9A73764}" srcOrd="0" destOrd="0" presId="urn:microsoft.com/office/officeart/2005/8/layout/cycle6"/>
    <dgm:cxn modelId="{6F7D54E7-D48E-4EF3-A1B6-D31572428546}" type="presParOf" srcId="{3B97C86A-025D-4D7E-A4F4-E75A071F9DE1}" destId="{65E28CCA-3510-45FC-ABB2-960EE41E5A38}" srcOrd="0" destOrd="0" presId="urn:microsoft.com/office/officeart/2005/8/layout/cycle6"/>
    <dgm:cxn modelId="{B547095A-876A-4BC9-9126-1B36809928DB}" type="presParOf" srcId="{3B97C86A-025D-4D7E-A4F4-E75A071F9DE1}" destId="{3AD47ED4-5381-4C95-9CD0-32834D6425B5}" srcOrd="1" destOrd="0" presId="urn:microsoft.com/office/officeart/2005/8/layout/cycle6"/>
    <dgm:cxn modelId="{DDC9701F-58EF-4059-8583-2BF448D6BBAB}" type="presParOf" srcId="{3B97C86A-025D-4D7E-A4F4-E75A071F9DE1}" destId="{44466C35-85AC-486C-857B-D6F3E2428B2F}" srcOrd="2" destOrd="0" presId="urn:microsoft.com/office/officeart/2005/8/layout/cycle6"/>
    <dgm:cxn modelId="{2F0B7348-1D30-4AB0-ACAE-D31FC7F5A6B8}" type="presParOf" srcId="{3B97C86A-025D-4D7E-A4F4-E75A071F9DE1}" destId="{C030FC3A-D8DE-4582-BD01-A32F0FE232DB}" srcOrd="3" destOrd="0" presId="urn:microsoft.com/office/officeart/2005/8/layout/cycle6"/>
    <dgm:cxn modelId="{6768F259-7A9F-4B29-A078-1DEFE493D3D3}" type="presParOf" srcId="{3B97C86A-025D-4D7E-A4F4-E75A071F9DE1}" destId="{E5F0F857-C6B6-4B46-B1FA-2FD807F017AE}" srcOrd="4" destOrd="0" presId="urn:microsoft.com/office/officeart/2005/8/layout/cycle6"/>
    <dgm:cxn modelId="{A8BF20BD-C90C-4FB9-B4AC-62B4D7D0C1D1}" type="presParOf" srcId="{3B97C86A-025D-4D7E-A4F4-E75A071F9DE1}" destId="{4B447BD7-6AF5-4580-934B-A700CB18F9F2}" srcOrd="5" destOrd="0" presId="urn:microsoft.com/office/officeart/2005/8/layout/cycle6"/>
    <dgm:cxn modelId="{ADA20743-7540-4B14-8530-5F1D3CC23344}" type="presParOf" srcId="{3B97C86A-025D-4D7E-A4F4-E75A071F9DE1}" destId="{982DA65E-8B46-4804-831C-48E8F9A73764}" srcOrd="6" destOrd="0" presId="urn:microsoft.com/office/officeart/2005/8/layout/cycle6"/>
    <dgm:cxn modelId="{7E81C175-D982-4EAB-8737-4497DEAFFC2B}" type="presParOf" srcId="{3B97C86A-025D-4D7E-A4F4-E75A071F9DE1}" destId="{23467E41-56BD-45CE-8054-0DE488982AB0}" srcOrd="7" destOrd="0" presId="urn:microsoft.com/office/officeart/2005/8/layout/cycle6"/>
    <dgm:cxn modelId="{64CC2388-DB7A-4CA5-B41A-08169C9E510F}" type="presParOf" srcId="{3B97C86A-025D-4D7E-A4F4-E75A071F9DE1}" destId="{0909183D-5F52-4E69-A4F7-1E631149D235}" srcOrd="8" destOrd="0" presId="urn:microsoft.com/office/officeart/2005/8/layout/cycle6"/>
    <dgm:cxn modelId="{F19D9996-537A-4F82-A9F3-031CA5E39D49}" type="presParOf" srcId="{3B97C86A-025D-4D7E-A4F4-E75A071F9DE1}" destId="{3B4BE6D7-1F70-4799-ABF5-3C040EDEE076}" srcOrd="9" destOrd="0" presId="urn:microsoft.com/office/officeart/2005/8/layout/cycle6"/>
    <dgm:cxn modelId="{9D3F98A7-E4F0-4F16-B878-AD4ED653031F}" type="presParOf" srcId="{3B97C86A-025D-4D7E-A4F4-E75A071F9DE1}" destId="{8F744BD1-99C3-41B1-8015-4D0D00AADAF1}" srcOrd="10" destOrd="0" presId="urn:microsoft.com/office/officeart/2005/8/layout/cycle6"/>
    <dgm:cxn modelId="{7AE56E6A-6880-47AD-AB13-4937A050B644}" type="presParOf" srcId="{3B97C86A-025D-4D7E-A4F4-E75A071F9DE1}" destId="{DFBC23F5-EB45-4C10-85C8-47BC919B3AD0}" srcOrd="11" destOrd="0" presId="urn:microsoft.com/office/officeart/2005/8/layout/cycle6"/>
    <dgm:cxn modelId="{2D29E069-5E21-4D10-9EB2-996C75F1B886}" type="presParOf" srcId="{3B97C86A-025D-4D7E-A4F4-E75A071F9DE1}" destId="{01387A35-63C4-4321-9FB6-1726F6EDA581}" srcOrd="12" destOrd="0" presId="urn:microsoft.com/office/officeart/2005/8/layout/cycle6"/>
    <dgm:cxn modelId="{F6B1C418-910B-4EED-8123-6465188A3BC7}" type="presParOf" srcId="{3B97C86A-025D-4D7E-A4F4-E75A071F9DE1}" destId="{44A29D9C-1DCC-43BD-9FAE-8EE65D50F7A6}" srcOrd="13" destOrd="0" presId="urn:microsoft.com/office/officeart/2005/8/layout/cycle6"/>
    <dgm:cxn modelId="{D69D26C0-70D1-4C65-9BE5-DC009632402F}" type="presParOf" srcId="{3B97C86A-025D-4D7E-A4F4-E75A071F9DE1}" destId="{7525D05D-7BDA-46A8-97EB-245205390E79}" srcOrd="14" destOrd="0" presId="urn:microsoft.com/office/officeart/2005/8/layout/cycle6"/>
    <dgm:cxn modelId="{5442AD16-123D-4F71-973D-C0654863F52D}" type="presParOf" srcId="{3B97C86A-025D-4D7E-A4F4-E75A071F9DE1}" destId="{5E56C7DB-C707-49AC-BC53-46070ED189FD}" srcOrd="15" destOrd="0" presId="urn:microsoft.com/office/officeart/2005/8/layout/cycle6"/>
    <dgm:cxn modelId="{E29D352A-55C0-43CF-899B-54BF63C0DFD1}" type="presParOf" srcId="{3B97C86A-025D-4D7E-A4F4-E75A071F9DE1}" destId="{5AF2E7D1-B15B-4291-85E0-528E0D4ADCBD}" srcOrd="16" destOrd="0" presId="urn:microsoft.com/office/officeart/2005/8/layout/cycle6"/>
    <dgm:cxn modelId="{F86210E6-F4B3-40D5-98BE-3C76DAF6C445}" type="presParOf" srcId="{3B97C86A-025D-4D7E-A4F4-E75A071F9DE1}" destId="{35291467-B2CC-4BFD-A7A9-1B628A6A9AED}" srcOrd="17" destOrd="0" presId="urn:microsoft.com/office/officeart/2005/8/layout/cycle6"/>
    <dgm:cxn modelId="{F241ED39-406B-4608-840C-E70444FEC7DF}" type="presParOf" srcId="{3B97C86A-025D-4D7E-A4F4-E75A071F9DE1}" destId="{5F74E61D-4E77-4825-B6B3-ED9BA081B79E}" srcOrd="18" destOrd="0" presId="urn:microsoft.com/office/officeart/2005/8/layout/cycle6"/>
    <dgm:cxn modelId="{40A6D6AD-BE33-4205-9085-C79D3963F3F2}" type="presParOf" srcId="{3B97C86A-025D-4D7E-A4F4-E75A071F9DE1}" destId="{D14B426C-2342-4ACD-8306-566592FA29A3}" srcOrd="19" destOrd="0" presId="urn:microsoft.com/office/officeart/2005/8/layout/cycle6"/>
    <dgm:cxn modelId="{68DF756D-A12C-45DE-85A8-2C008482F699}" type="presParOf" srcId="{3B97C86A-025D-4D7E-A4F4-E75A071F9DE1}" destId="{3D62362D-83F0-4F76-A36B-9EB6ACB8EC4D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096748-E515-4873-A5E0-FB18DDB695D8}">
      <dsp:nvSpPr>
        <dsp:cNvPr id="0" name=""/>
        <dsp:cNvSpPr/>
      </dsp:nvSpPr>
      <dsp:spPr>
        <a:xfrm>
          <a:off x="2423404" y="359"/>
          <a:ext cx="1260456" cy="8192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fr-FR" sz="1800" b="1" kern="1200" dirty="0">
              <a:solidFill>
                <a:srgbClr val="FFFFFF"/>
              </a:solidFill>
              <a:latin typeface="+mn-lt"/>
              <a:ea typeface="+mn-ea"/>
              <a:cs typeface="+mn-cs"/>
            </a:rPr>
            <a:t>Principes</a:t>
          </a:r>
        </a:p>
      </dsp:txBody>
      <dsp:txXfrm>
        <a:off x="2463399" y="40354"/>
        <a:ext cx="1180466" cy="739306"/>
      </dsp:txXfrm>
    </dsp:sp>
    <dsp:sp modelId="{72EFBECE-A34B-4089-97E2-15A0934B2576}">
      <dsp:nvSpPr>
        <dsp:cNvPr id="0" name=""/>
        <dsp:cNvSpPr/>
      </dsp:nvSpPr>
      <dsp:spPr>
        <a:xfrm>
          <a:off x="1062524" y="387172"/>
          <a:ext cx="3857163" cy="3857163"/>
        </a:xfrm>
        <a:custGeom>
          <a:avLst/>
          <a:gdLst/>
          <a:ahLst/>
          <a:cxnLst/>
          <a:rect l="0" t="0" r="0" b="0"/>
          <a:pathLst>
            <a:path>
              <a:moveTo>
                <a:pt x="2629140" y="131738"/>
              </a:moveTo>
              <a:arcTo wR="1928581" hR="1928581" stAng="17477997" swAng="147388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1A76ACA-E0A1-46E4-AA6C-7506799D5D6A}">
      <dsp:nvSpPr>
        <dsp:cNvPr id="0" name=""/>
        <dsp:cNvSpPr/>
      </dsp:nvSpPr>
      <dsp:spPr>
        <a:xfrm>
          <a:off x="3714423" y="978796"/>
          <a:ext cx="1969816" cy="8192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fr-FR" sz="1800" b="1" kern="1200" dirty="0"/>
            <a:t>Orientations</a:t>
          </a:r>
          <a:endParaRPr lang="fr-FR" sz="1800" b="1" kern="1200" dirty="0">
            <a:solidFill>
              <a:srgbClr val="FFFFFF"/>
            </a:solidFill>
            <a:latin typeface="+mn-lt"/>
            <a:ea typeface="+mn-ea"/>
            <a:cs typeface="+mn-cs"/>
          </a:endParaRPr>
        </a:p>
      </dsp:txBody>
      <dsp:txXfrm>
        <a:off x="3754418" y="1018791"/>
        <a:ext cx="1889826" cy="739306"/>
      </dsp:txXfrm>
    </dsp:sp>
    <dsp:sp modelId="{A36CA7F6-8A7F-4CFF-95F6-4623BDEF3286}">
      <dsp:nvSpPr>
        <dsp:cNvPr id="0" name=""/>
        <dsp:cNvSpPr/>
      </dsp:nvSpPr>
      <dsp:spPr>
        <a:xfrm>
          <a:off x="1039889" y="157458"/>
          <a:ext cx="3857163" cy="3857163"/>
        </a:xfrm>
        <a:custGeom>
          <a:avLst/>
          <a:gdLst/>
          <a:ahLst/>
          <a:cxnLst/>
          <a:rect l="0" t="0" r="0" b="0"/>
          <a:pathLst>
            <a:path>
              <a:moveTo>
                <a:pt x="3837761" y="1655704"/>
              </a:moveTo>
              <a:arcTo wR="1928581" hR="1928581" stAng="21111952" swAng="273692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634D48-933F-426E-A1D2-B5B874398507}">
      <dsp:nvSpPr>
        <dsp:cNvPr id="0" name=""/>
        <dsp:cNvSpPr/>
      </dsp:nvSpPr>
      <dsp:spPr>
        <a:xfrm>
          <a:off x="3486278" y="3271638"/>
          <a:ext cx="1260456" cy="8192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fr-FR" sz="1800" b="1" kern="1200" dirty="0"/>
            <a:t>Jalons</a:t>
          </a:r>
        </a:p>
      </dsp:txBody>
      <dsp:txXfrm>
        <a:off x="3526273" y="3311633"/>
        <a:ext cx="1180466" cy="739306"/>
      </dsp:txXfrm>
    </dsp:sp>
    <dsp:sp modelId="{047966F2-2CD4-4FB0-982D-3B03A4267E32}">
      <dsp:nvSpPr>
        <dsp:cNvPr id="0" name=""/>
        <dsp:cNvSpPr/>
      </dsp:nvSpPr>
      <dsp:spPr>
        <a:xfrm>
          <a:off x="-64218" y="1023454"/>
          <a:ext cx="3857163" cy="3857163"/>
        </a:xfrm>
        <a:custGeom>
          <a:avLst/>
          <a:gdLst/>
          <a:ahLst/>
          <a:cxnLst/>
          <a:rect l="0" t="0" r="0" b="0"/>
          <a:pathLst>
            <a:path>
              <a:moveTo>
                <a:pt x="3548299" y="2975455"/>
              </a:moveTo>
              <a:arcTo wR="1928581" hR="1928581" stAng="1972550" swAng="70990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74164F5-F777-46A3-BE02-441CF6AD3653}">
      <dsp:nvSpPr>
        <dsp:cNvPr id="0" name=""/>
        <dsp:cNvSpPr/>
      </dsp:nvSpPr>
      <dsp:spPr>
        <a:xfrm>
          <a:off x="1971705" y="3857882"/>
          <a:ext cx="1260456" cy="8192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fr-FR" sz="1600" b="1" kern="1200" dirty="0"/>
            <a:t>Moyens</a:t>
          </a:r>
        </a:p>
      </dsp:txBody>
      <dsp:txXfrm>
        <a:off x="2011700" y="3897877"/>
        <a:ext cx="1180466" cy="739306"/>
      </dsp:txXfrm>
    </dsp:sp>
    <dsp:sp modelId="{236FCCD0-D2AB-4194-868A-8F5130B978B0}">
      <dsp:nvSpPr>
        <dsp:cNvPr id="0" name=""/>
        <dsp:cNvSpPr/>
      </dsp:nvSpPr>
      <dsp:spPr>
        <a:xfrm>
          <a:off x="1529665" y="840942"/>
          <a:ext cx="3857163" cy="3857163"/>
        </a:xfrm>
        <a:custGeom>
          <a:avLst/>
          <a:gdLst/>
          <a:ahLst/>
          <a:cxnLst/>
          <a:rect l="0" t="0" r="0" b="0"/>
          <a:pathLst>
            <a:path>
              <a:moveTo>
                <a:pt x="435606" y="3149422"/>
              </a:moveTo>
              <a:arcTo wR="1928581" hR="1928581" stAng="8443580" swAng="179122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6BF3689-F1C1-4415-81E0-683CC23B920A}">
      <dsp:nvSpPr>
        <dsp:cNvPr id="0" name=""/>
        <dsp:cNvSpPr/>
      </dsp:nvSpPr>
      <dsp:spPr>
        <a:xfrm>
          <a:off x="469256" y="2255879"/>
          <a:ext cx="1891895" cy="8192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1" kern="1200" dirty="0">
              <a:latin typeface="+mn-lt"/>
            </a:rPr>
            <a:t>Animation</a:t>
          </a:r>
        </a:p>
      </dsp:txBody>
      <dsp:txXfrm>
        <a:off x="509251" y="2295874"/>
        <a:ext cx="1811905" cy="739306"/>
      </dsp:txXfrm>
    </dsp:sp>
    <dsp:sp modelId="{2D251E64-2161-4BE0-A46B-E127971D95D2}">
      <dsp:nvSpPr>
        <dsp:cNvPr id="0" name=""/>
        <dsp:cNvSpPr/>
      </dsp:nvSpPr>
      <dsp:spPr>
        <a:xfrm>
          <a:off x="1155617" y="-584832"/>
          <a:ext cx="3857163" cy="3857163"/>
        </a:xfrm>
        <a:custGeom>
          <a:avLst/>
          <a:gdLst/>
          <a:ahLst/>
          <a:cxnLst/>
          <a:rect l="0" t="0" r="0" b="0"/>
          <a:pathLst>
            <a:path>
              <a:moveTo>
                <a:pt x="226952" y="2836263"/>
              </a:moveTo>
              <a:arcTo wR="1928581" hR="1928581" stAng="9115420" swAng="883944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F2E243-220A-4534-94A7-6F1C2CC0A00A}">
      <dsp:nvSpPr>
        <dsp:cNvPr id="0" name=""/>
        <dsp:cNvSpPr/>
      </dsp:nvSpPr>
      <dsp:spPr>
        <a:xfrm>
          <a:off x="753203" y="964650"/>
          <a:ext cx="1260456" cy="8192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b="1" kern="1200" dirty="0">
              <a:latin typeface="+mn-lt"/>
            </a:rPr>
            <a:t>Vision</a:t>
          </a:r>
          <a:endParaRPr lang="fr-FR" sz="1200" b="1" kern="1200" dirty="0">
            <a:latin typeface="+mn-lt"/>
          </a:endParaRPr>
        </a:p>
      </dsp:txBody>
      <dsp:txXfrm>
        <a:off x="793198" y="1004645"/>
        <a:ext cx="1180466" cy="739306"/>
      </dsp:txXfrm>
    </dsp:sp>
    <dsp:sp modelId="{A8CCFB64-7D5A-40A8-8515-7AA1A57C0EC5}">
      <dsp:nvSpPr>
        <dsp:cNvPr id="0" name=""/>
        <dsp:cNvSpPr/>
      </dsp:nvSpPr>
      <dsp:spPr>
        <a:xfrm>
          <a:off x="1125051" y="410007"/>
          <a:ext cx="3857163" cy="3857163"/>
        </a:xfrm>
        <a:custGeom>
          <a:avLst/>
          <a:gdLst/>
          <a:ahLst/>
          <a:cxnLst/>
          <a:rect l="0" t="0" r="0" b="0"/>
          <a:pathLst>
            <a:path>
              <a:moveTo>
                <a:pt x="581248" y="548683"/>
              </a:moveTo>
              <a:arcTo wR="1928581" hR="1928581" stAng="13541047" swAng="1499362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022594-A554-4450-85EC-B60A320C94B4}">
      <dsp:nvSpPr>
        <dsp:cNvPr id="0" name=""/>
        <dsp:cNvSpPr/>
      </dsp:nvSpPr>
      <dsp:spPr>
        <a:xfrm>
          <a:off x="51" y="260019"/>
          <a:ext cx="4888883" cy="5793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 Véhicule Particulier</a:t>
          </a:r>
        </a:p>
      </dsp:txBody>
      <dsp:txXfrm>
        <a:off x="51" y="260019"/>
        <a:ext cx="4888883" cy="579301"/>
      </dsp:txXfrm>
    </dsp:sp>
    <dsp:sp modelId="{7A03C77D-844A-4362-9D9B-20F58960A280}">
      <dsp:nvSpPr>
        <dsp:cNvPr id="0" name=""/>
        <dsp:cNvSpPr/>
      </dsp:nvSpPr>
      <dsp:spPr>
        <a:xfrm>
          <a:off x="51" y="778942"/>
          <a:ext cx="4888883" cy="386015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Conduite automatisée &lt; 60 km/h sur voies à chaussées séparée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Conduite automatisée 130 km/h sur voies à chaussées séparée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Parking automatisé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Valet de parking</a:t>
          </a:r>
        </a:p>
      </dsp:txBody>
      <dsp:txXfrm>
        <a:off x="51" y="778942"/>
        <a:ext cx="4888883" cy="3860156"/>
      </dsp:txXfrm>
    </dsp:sp>
    <dsp:sp modelId="{ECFA5B11-B926-430A-99F5-BD55A7DA942E}">
      <dsp:nvSpPr>
        <dsp:cNvPr id="0" name=""/>
        <dsp:cNvSpPr/>
      </dsp:nvSpPr>
      <dsp:spPr>
        <a:xfrm>
          <a:off x="5573377" y="245317"/>
          <a:ext cx="4888883" cy="5184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800" kern="1200" dirty="0"/>
            <a:t>Service de mobilité autonome et partagée</a:t>
          </a:r>
        </a:p>
      </dsp:txBody>
      <dsp:txXfrm>
        <a:off x="5573377" y="245317"/>
        <a:ext cx="4888883" cy="518400"/>
      </dsp:txXfrm>
    </dsp:sp>
    <dsp:sp modelId="{B58E5D71-8CF3-4437-B8D0-A4D6F1491DB0}">
      <dsp:nvSpPr>
        <dsp:cNvPr id="0" name=""/>
        <dsp:cNvSpPr/>
      </dsp:nvSpPr>
      <dsp:spPr>
        <a:xfrm>
          <a:off x="5531284" y="763717"/>
          <a:ext cx="4888883" cy="3860156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Desserte fine de sites privés (entreprise, zone d’activité, campus,…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Desserte fine d’un site public (quartier, zone commerciale,…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 Desserte premier et dernier km à partir et vers un hub de transpor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Extension de ligne de bus existante (tracé, fréquence, amplitude)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Automatisation de ligne de bus existant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Desserte pôle à pôl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VTC, robot-taxi autonome, micro-transi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800" kern="1200" dirty="0"/>
            <a:t>Co-voiturage automatisée sur des voies protégées avec coopération avec l’infrastructure</a:t>
          </a:r>
        </a:p>
      </dsp:txBody>
      <dsp:txXfrm>
        <a:off x="5531284" y="763717"/>
        <a:ext cx="4888883" cy="386015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022594-A554-4450-85EC-B60A320C94B4}">
      <dsp:nvSpPr>
        <dsp:cNvPr id="0" name=""/>
        <dsp:cNvSpPr/>
      </dsp:nvSpPr>
      <dsp:spPr>
        <a:xfrm>
          <a:off x="3269" y="334004"/>
          <a:ext cx="3187735" cy="8145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 « Work zone »</a:t>
          </a:r>
        </a:p>
      </dsp:txBody>
      <dsp:txXfrm>
        <a:off x="3269" y="334004"/>
        <a:ext cx="3187735" cy="814561"/>
      </dsp:txXfrm>
    </dsp:sp>
    <dsp:sp modelId="{7A03C77D-844A-4362-9D9B-20F58960A280}">
      <dsp:nvSpPr>
        <dsp:cNvPr id="0" name=""/>
        <dsp:cNvSpPr/>
      </dsp:nvSpPr>
      <dsp:spPr>
        <a:xfrm>
          <a:off x="3269" y="1063667"/>
          <a:ext cx="3187735" cy="35135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Site fermé (logistique,  aéroport, port, mines, carrières, industriel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Charges lourdes en environnement maîtrisé et supervisé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Tracteurs (de cour, de parc, à bagage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Semi remorques, caisses mobiles, minerai, remorques</a:t>
          </a:r>
        </a:p>
      </dsp:txBody>
      <dsp:txXfrm>
        <a:off x="3269" y="1063667"/>
        <a:ext cx="3187735" cy="3513599"/>
      </dsp:txXfrm>
    </dsp:sp>
    <dsp:sp modelId="{264B2599-A79F-4156-A7BF-F97B1AFAEE17}">
      <dsp:nvSpPr>
        <dsp:cNvPr id="0" name=""/>
        <dsp:cNvSpPr/>
      </dsp:nvSpPr>
      <dsp:spPr>
        <a:xfrm>
          <a:off x="3637288" y="313332"/>
          <a:ext cx="3187735" cy="728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Logistique urbaine</a:t>
          </a:r>
        </a:p>
      </dsp:txBody>
      <dsp:txXfrm>
        <a:off x="3637288" y="313332"/>
        <a:ext cx="3187735" cy="728926"/>
      </dsp:txXfrm>
    </dsp:sp>
    <dsp:sp modelId="{B155AF91-3645-41EA-B45C-20172BFD1C25}">
      <dsp:nvSpPr>
        <dsp:cNvPr id="0" name=""/>
        <dsp:cNvSpPr/>
      </dsp:nvSpPr>
      <dsp:spPr>
        <a:xfrm>
          <a:off x="3637288" y="1042258"/>
          <a:ext cx="3187735" cy="35135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Cœur de ville, zone rurale, zone urbaine, chaussée, trottoir, zone piétonn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Faibles volumes (~1m</a:t>
          </a:r>
          <a:r>
            <a:rPr lang="fr-FR" sz="2000" kern="1200" baseline="30000" dirty="0"/>
            <a:t>3</a:t>
          </a:r>
          <a:r>
            <a:rPr lang="fr-FR" sz="2000" kern="1200" dirty="0"/>
            <a:t>) en interaction avec UV et supervisé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Droïdes logistiques automatisés, VUL (N1, N2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Unités Logistiques Intermodales Standard</a:t>
          </a:r>
        </a:p>
      </dsp:txBody>
      <dsp:txXfrm>
        <a:off x="3637288" y="1042258"/>
        <a:ext cx="3187735" cy="3513599"/>
      </dsp:txXfrm>
    </dsp:sp>
    <dsp:sp modelId="{ECFA5B11-B926-430A-99F5-BD55A7DA942E}">
      <dsp:nvSpPr>
        <dsp:cNvPr id="0" name=""/>
        <dsp:cNvSpPr/>
      </dsp:nvSpPr>
      <dsp:spPr>
        <a:xfrm>
          <a:off x="7271306" y="313332"/>
          <a:ext cx="3187735" cy="72892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000" kern="1200" dirty="0"/>
            <a:t>Transport moyen et longue distance</a:t>
          </a:r>
        </a:p>
      </dsp:txBody>
      <dsp:txXfrm>
        <a:off x="7271306" y="313332"/>
        <a:ext cx="3187735" cy="728926"/>
      </dsp:txXfrm>
    </dsp:sp>
    <dsp:sp modelId="{B58E5D71-8CF3-4437-B8D0-A4D6F1491DB0}">
      <dsp:nvSpPr>
        <dsp:cNvPr id="0" name=""/>
        <dsp:cNvSpPr/>
      </dsp:nvSpPr>
      <dsp:spPr>
        <a:xfrm>
          <a:off x="7243860" y="1042258"/>
          <a:ext cx="3187735" cy="351359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Route, autoroute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Transport de marchandises sur des moyennes et longues distances en mixité (possible supervision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Tracteurs routier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2000" kern="1200" dirty="0"/>
            <a:t>semi remorques, caisses mobiles</a:t>
          </a:r>
          <a:endParaRPr lang="fr-FR" sz="2000" b="1" kern="1200" dirty="0"/>
        </a:p>
      </dsp:txBody>
      <dsp:txXfrm>
        <a:off x="7243860" y="1042258"/>
        <a:ext cx="3187735" cy="35135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2A41B1-BB88-47FE-AAB9-7E208E97E579}">
      <dsp:nvSpPr>
        <dsp:cNvPr id="0" name=""/>
        <dsp:cNvSpPr/>
      </dsp:nvSpPr>
      <dsp:spPr>
        <a:xfrm>
          <a:off x="2427405" y="1554966"/>
          <a:ext cx="1651670" cy="1462177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France VA</a:t>
          </a:r>
        </a:p>
      </dsp:txBody>
      <dsp:txXfrm>
        <a:off x="2669286" y="1769097"/>
        <a:ext cx="1167908" cy="1033915"/>
      </dsp:txXfrm>
    </dsp:sp>
    <dsp:sp modelId="{DC5A229E-0706-4825-BE89-C584BC0A0028}">
      <dsp:nvSpPr>
        <dsp:cNvPr id="0" name=""/>
        <dsp:cNvSpPr/>
      </dsp:nvSpPr>
      <dsp:spPr>
        <a:xfrm>
          <a:off x="2633720" y="404460"/>
          <a:ext cx="1254420" cy="1254420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Instituts technique &amp; de recherche</a:t>
          </a:r>
        </a:p>
      </dsp:txBody>
      <dsp:txXfrm>
        <a:off x="2817426" y="588166"/>
        <a:ext cx="887008" cy="887008"/>
      </dsp:txXfrm>
    </dsp:sp>
    <dsp:sp modelId="{E82D7AB9-8618-4A87-9D47-34907CA4FF9C}">
      <dsp:nvSpPr>
        <dsp:cNvPr id="0" name=""/>
        <dsp:cNvSpPr/>
      </dsp:nvSpPr>
      <dsp:spPr>
        <a:xfrm>
          <a:off x="3801995" y="973928"/>
          <a:ext cx="1599060" cy="1254420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Infrastructure &amp; connectivité</a:t>
          </a:r>
        </a:p>
      </dsp:txBody>
      <dsp:txXfrm>
        <a:off x="4036172" y="1157634"/>
        <a:ext cx="1130706" cy="887008"/>
      </dsp:txXfrm>
    </dsp:sp>
    <dsp:sp modelId="{20288196-49E2-4EFC-8C6B-29C67B82C1D3}">
      <dsp:nvSpPr>
        <dsp:cNvPr id="0" name=""/>
        <dsp:cNvSpPr/>
      </dsp:nvSpPr>
      <dsp:spPr>
        <a:xfrm>
          <a:off x="3766349" y="2306874"/>
          <a:ext cx="1139967" cy="1084835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 err="1"/>
            <a:t>Frêt</a:t>
          </a:r>
          <a:r>
            <a:rPr lang="fr-FR" sz="1400" b="1" kern="1200" dirty="0"/>
            <a:t> &amp; </a:t>
          </a:r>
          <a:r>
            <a:rPr lang="fr-FR" sz="1400" b="1" kern="1200" dirty="0" err="1"/>
            <a:t>logsitique</a:t>
          </a:r>
          <a:endParaRPr lang="fr-FR" sz="1400" b="1" kern="1200" dirty="0"/>
        </a:p>
      </dsp:txBody>
      <dsp:txXfrm>
        <a:off x="3933293" y="2465744"/>
        <a:ext cx="806079" cy="767095"/>
      </dsp:txXfrm>
    </dsp:sp>
    <dsp:sp modelId="{9D262A68-C747-4D08-AA9A-0802D473A857}">
      <dsp:nvSpPr>
        <dsp:cNvPr id="0" name=""/>
        <dsp:cNvSpPr/>
      </dsp:nvSpPr>
      <dsp:spPr>
        <a:xfrm>
          <a:off x="2718859" y="3025489"/>
          <a:ext cx="1317467" cy="974609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Automobile</a:t>
          </a:r>
        </a:p>
      </dsp:txBody>
      <dsp:txXfrm>
        <a:off x="2911798" y="3168217"/>
        <a:ext cx="931589" cy="689153"/>
      </dsp:txXfrm>
    </dsp:sp>
    <dsp:sp modelId="{B7F55202-5BBA-434B-BC97-DB8E67BE8E6E}">
      <dsp:nvSpPr>
        <dsp:cNvPr id="0" name=""/>
        <dsp:cNvSpPr/>
      </dsp:nvSpPr>
      <dsp:spPr>
        <a:xfrm>
          <a:off x="1265792" y="2459861"/>
          <a:ext cx="1544028" cy="1254420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AD Technologie</a:t>
          </a:r>
        </a:p>
      </dsp:txBody>
      <dsp:txXfrm>
        <a:off x="1491910" y="2643567"/>
        <a:ext cx="1091792" cy="887008"/>
      </dsp:txXfrm>
    </dsp:sp>
    <dsp:sp modelId="{9A989307-FFCD-4623-A468-D4DA357B0C95}">
      <dsp:nvSpPr>
        <dsp:cNvPr id="0" name=""/>
        <dsp:cNvSpPr/>
      </dsp:nvSpPr>
      <dsp:spPr>
        <a:xfrm>
          <a:off x="1317076" y="1057527"/>
          <a:ext cx="1405126" cy="1284376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Transport</a:t>
          </a:r>
        </a:p>
      </dsp:txBody>
      <dsp:txXfrm>
        <a:off x="1522852" y="1245620"/>
        <a:ext cx="993574" cy="9081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2A41B1-BB88-47FE-AAB9-7E208E97E579}">
      <dsp:nvSpPr>
        <dsp:cNvPr id="0" name=""/>
        <dsp:cNvSpPr/>
      </dsp:nvSpPr>
      <dsp:spPr>
        <a:xfrm>
          <a:off x="1742735" y="1449008"/>
          <a:ext cx="2248327" cy="984024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Administration</a:t>
          </a:r>
        </a:p>
      </dsp:txBody>
      <dsp:txXfrm>
        <a:off x="2071995" y="1593115"/>
        <a:ext cx="1589807" cy="695810"/>
      </dsp:txXfrm>
    </dsp:sp>
    <dsp:sp modelId="{DC5A229E-0706-4825-BE89-C584BC0A0028}">
      <dsp:nvSpPr>
        <dsp:cNvPr id="0" name=""/>
        <dsp:cNvSpPr/>
      </dsp:nvSpPr>
      <dsp:spPr>
        <a:xfrm>
          <a:off x="2384076" y="808183"/>
          <a:ext cx="981417" cy="653984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DGE</a:t>
          </a:r>
        </a:p>
      </dsp:txBody>
      <dsp:txXfrm>
        <a:off x="2527801" y="903957"/>
        <a:ext cx="693967" cy="462436"/>
      </dsp:txXfrm>
    </dsp:sp>
    <dsp:sp modelId="{E82D7AB9-8618-4A87-9D47-34907CA4FF9C}">
      <dsp:nvSpPr>
        <dsp:cNvPr id="0" name=""/>
        <dsp:cNvSpPr/>
      </dsp:nvSpPr>
      <dsp:spPr>
        <a:xfrm>
          <a:off x="3903010" y="1235163"/>
          <a:ext cx="807406" cy="871082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DGEC</a:t>
          </a:r>
        </a:p>
      </dsp:txBody>
      <dsp:txXfrm>
        <a:off x="4021252" y="1362730"/>
        <a:ext cx="570922" cy="615948"/>
      </dsp:txXfrm>
    </dsp:sp>
    <dsp:sp modelId="{20288196-49E2-4EFC-8C6B-29C67B82C1D3}">
      <dsp:nvSpPr>
        <dsp:cNvPr id="0" name=""/>
        <dsp:cNvSpPr/>
      </dsp:nvSpPr>
      <dsp:spPr>
        <a:xfrm>
          <a:off x="3240071" y="2334754"/>
          <a:ext cx="608526" cy="617721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DSR</a:t>
          </a:r>
        </a:p>
      </dsp:txBody>
      <dsp:txXfrm>
        <a:off x="3329188" y="2425217"/>
        <a:ext cx="430292" cy="436795"/>
      </dsp:txXfrm>
    </dsp:sp>
    <dsp:sp modelId="{B7F55202-5BBA-434B-BC97-DB8E67BE8E6E}">
      <dsp:nvSpPr>
        <dsp:cNvPr id="0" name=""/>
        <dsp:cNvSpPr/>
      </dsp:nvSpPr>
      <dsp:spPr>
        <a:xfrm>
          <a:off x="1897878" y="2291675"/>
          <a:ext cx="813039" cy="728957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DGGN</a:t>
          </a:r>
        </a:p>
      </dsp:txBody>
      <dsp:txXfrm>
        <a:off x="2016945" y="2398428"/>
        <a:ext cx="574905" cy="515451"/>
      </dsp:txXfrm>
    </dsp:sp>
    <dsp:sp modelId="{9A989307-FFCD-4623-A468-D4DA357B0C95}">
      <dsp:nvSpPr>
        <dsp:cNvPr id="0" name=""/>
        <dsp:cNvSpPr/>
      </dsp:nvSpPr>
      <dsp:spPr>
        <a:xfrm>
          <a:off x="1326851" y="1275970"/>
          <a:ext cx="787719" cy="813082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ANSI</a:t>
          </a:r>
        </a:p>
      </dsp:txBody>
      <dsp:txXfrm>
        <a:off x="1442210" y="1395043"/>
        <a:ext cx="557001" cy="57493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2A41B1-BB88-47FE-AAB9-7E208E97E579}">
      <dsp:nvSpPr>
        <dsp:cNvPr id="0" name=""/>
        <dsp:cNvSpPr/>
      </dsp:nvSpPr>
      <dsp:spPr>
        <a:xfrm>
          <a:off x="2272343" y="1392409"/>
          <a:ext cx="2212546" cy="1400215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Territoires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d’expérimentations</a:t>
          </a:r>
        </a:p>
      </dsp:txBody>
      <dsp:txXfrm>
        <a:off x="2596363" y="1597466"/>
        <a:ext cx="1564506" cy="990101"/>
      </dsp:txXfrm>
    </dsp:sp>
    <dsp:sp modelId="{E82D7AB9-8618-4A87-9D47-34907CA4FF9C}">
      <dsp:nvSpPr>
        <dsp:cNvPr id="0" name=""/>
        <dsp:cNvSpPr/>
      </dsp:nvSpPr>
      <dsp:spPr>
        <a:xfrm>
          <a:off x="2903979" y="1063426"/>
          <a:ext cx="1068260" cy="674343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Sites protégés</a:t>
          </a:r>
        </a:p>
      </dsp:txBody>
      <dsp:txXfrm>
        <a:off x="3060422" y="1162181"/>
        <a:ext cx="755374" cy="476833"/>
      </dsp:txXfrm>
    </dsp:sp>
    <dsp:sp modelId="{20288196-49E2-4EFC-8C6B-29C67B82C1D3}">
      <dsp:nvSpPr>
        <dsp:cNvPr id="0" name=""/>
        <dsp:cNvSpPr/>
      </dsp:nvSpPr>
      <dsp:spPr>
        <a:xfrm>
          <a:off x="4468851" y="1817049"/>
          <a:ext cx="959009" cy="728736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Rural</a:t>
          </a:r>
        </a:p>
      </dsp:txBody>
      <dsp:txXfrm>
        <a:off x="4609295" y="1923770"/>
        <a:ext cx="678121" cy="515294"/>
      </dsp:txXfrm>
    </dsp:sp>
    <dsp:sp modelId="{B7F55202-5BBA-434B-BC97-DB8E67BE8E6E}">
      <dsp:nvSpPr>
        <dsp:cNvPr id="0" name=""/>
        <dsp:cNvSpPr/>
      </dsp:nvSpPr>
      <dsp:spPr>
        <a:xfrm>
          <a:off x="3039077" y="2666242"/>
          <a:ext cx="1059724" cy="740782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Péri-urbain</a:t>
          </a:r>
        </a:p>
      </dsp:txBody>
      <dsp:txXfrm>
        <a:off x="3194270" y="2774727"/>
        <a:ext cx="749338" cy="523812"/>
      </dsp:txXfrm>
    </dsp:sp>
    <dsp:sp modelId="{9A989307-FFCD-4623-A468-D4DA357B0C95}">
      <dsp:nvSpPr>
        <dsp:cNvPr id="0" name=""/>
        <dsp:cNvSpPr/>
      </dsp:nvSpPr>
      <dsp:spPr>
        <a:xfrm>
          <a:off x="1414358" y="1641776"/>
          <a:ext cx="987268" cy="968978"/>
        </a:xfrm>
        <a:prstGeom prst="ellipse">
          <a:avLst/>
        </a:prstGeom>
        <a:gradFill rotWithShape="0">
          <a:gsLst>
            <a:gs pos="0">
              <a:schemeClr val="lt1">
                <a:alpha val="5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lt1">
                <a:alpha val="5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 dirty="0"/>
            <a:t>Urbain</a:t>
          </a:r>
        </a:p>
      </dsp:txBody>
      <dsp:txXfrm>
        <a:off x="1558940" y="1783680"/>
        <a:ext cx="698104" cy="68517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E28CCA-3510-45FC-ABB2-960EE41E5A38}">
      <dsp:nvSpPr>
        <dsp:cNvPr id="0" name=""/>
        <dsp:cNvSpPr/>
      </dsp:nvSpPr>
      <dsp:spPr>
        <a:xfrm>
          <a:off x="834157" y="984"/>
          <a:ext cx="568319" cy="283220"/>
        </a:xfrm>
        <a:prstGeom prst="roundRect">
          <a:avLst/>
        </a:prstGeom>
        <a:solidFill>
          <a:srgbClr val="35496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>
              <a:latin typeface="Univers Condensed" panose="020B0506020202050204" pitchFamily="34" charset="0"/>
            </a:rPr>
            <a:t>Sécurité et domaine d’emploi</a:t>
          </a:r>
        </a:p>
      </dsp:txBody>
      <dsp:txXfrm>
        <a:off x="847983" y="14810"/>
        <a:ext cx="540667" cy="255568"/>
      </dsp:txXfrm>
    </dsp:sp>
    <dsp:sp modelId="{44466C35-85AC-486C-857B-D6F3E2428B2F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1094484" y="52418"/>
              </a:moveTo>
              <a:arcTo wR="808166" hR="808166" stAng="17444960" swAng="96478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30FC3A-D8DE-4582-BD01-A32F0FE232DB}">
      <dsp:nvSpPr>
        <dsp:cNvPr id="0" name=""/>
        <dsp:cNvSpPr/>
      </dsp:nvSpPr>
      <dsp:spPr>
        <a:xfrm>
          <a:off x="1466007" y="305267"/>
          <a:ext cx="568319" cy="283220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>
              <a:latin typeface="Univers Condensed" panose="020B0506020202050204" pitchFamily="34" charset="0"/>
            </a:rPr>
            <a:t>Acceptabilité</a:t>
          </a:r>
        </a:p>
      </dsp:txBody>
      <dsp:txXfrm>
        <a:off x="1479833" y="319093"/>
        <a:ext cx="540667" cy="255568"/>
      </dsp:txXfrm>
    </dsp:sp>
    <dsp:sp modelId="{4B447BD7-6AF5-4580-934B-A700CB18F9F2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1532413" y="449557"/>
              </a:moveTo>
              <a:arcTo wR="808166" hR="808166" stAng="20019466" swAng="1725774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2DA65E-8B46-4804-831C-48E8F9A73764}">
      <dsp:nvSpPr>
        <dsp:cNvPr id="0" name=""/>
        <dsp:cNvSpPr/>
      </dsp:nvSpPr>
      <dsp:spPr>
        <a:xfrm>
          <a:off x="1622061" y="988985"/>
          <a:ext cx="568319" cy="283220"/>
        </a:xfrm>
        <a:prstGeom prst="round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>
              <a:latin typeface="Univers Condensed" panose="020B0506020202050204" pitchFamily="34" charset="0"/>
            </a:rPr>
            <a:t>Comportement</a:t>
          </a:r>
        </a:p>
      </dsp:txBody>
      <dsp:txXfrm>
        <a:off x="1635887" y="1002811"/>
        <a:ext cx="540667" cy="255568"/>
      </dsp:txXfrm>
    </dsp:sp>
    <dsp:sp modelId="{0909183D-5F52-4E69-A4F7-1E631149D235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1548363" y="1132577"/>
              </a:moveTo>
              <a:arcTo wR="808166" hR="808166" stAng="1420000" swAng="135808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4BE6D7-1F70-4799-ABF5-3C040EDEE076}">
      <dsp:nvSpPr>
        <dsp:cNvPr id="0" name=""/>
        <dsp:cNvSpPr/>
      </dsp:nvSpPr>
      <dsp:spPr>
        <a:xfrm>
          <a:off x="1184807" y="1537284"/>
          <a:ext cx="568319" cy="283220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>
              <a:latin typeface="Univers Condensed" panose="020B0506020202050204" pitchFamily="34" charset="0"/>
            </a:rPr>
            <a:t>Environnement</a:t>
          </a:r>
        </a:p>
      </dsp:txBody>
      <dsp:txXfrm>
        <a:off x="1198633" y="1551110"/>
        <a:ext cx="540667" cy="255568"/>
      </dsp:txXfrm>
    </dsp:sp>
    <dsp:sp modelId="{DFBC23F5-EB45-4C10-85C8-47BC919B3AD0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873333" y="1613702"/>
              </a:moveTo>
              <a:arcTo wR="808166" hR="808166" stAng="5122495" swAng="55443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387A35-63C4-4321-9FB6-1726F6EDA581}">
      <dsp:nvSpPr>
        <dsp:cNvPr id="0" name=""/>
        <dsp:cNvSpPr/>
      </dsp:nvSpPr>
      <dsp:spPr>
        <a:xfrm>
          <a:off x="483371" y="1537284"/>
          <a:ext cx="568589" cy="283220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>
              <a:latin typeface="Univers Condensed" panose="020B0506020202050204" pitchFamily="34" charset="0"/>
            </a:rPr>
            <a:t>Trafic</a:t>
          </a:r>
        </a:p>
      </dsp:txBody>
      <dsp:txXfrm>
        <a:off x="497197" y="1551110"/>
        <a:ext cx="540937" cy="255568"/>
      </dsp:txXfrm>
    </dsp:sp>
    <dsp:sp modelId="{7525D05D-7BDA-46A8-97EB-245205390E79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249833" y="1392459"/>
              </a:moveTo>
              <a:arcTo wR="808166" hR="808166" stAng="8021912" swAng="135808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56C7DB-C707-49AC-BC53-46070ED189FD}">
      <dsp:nvSpPr>
        <dsp:cNvPr id="0" name=""/>
        <dsp:cNvSpPr/>
      </dsp:nvSpPr>
      <dsp:spPr>
        <a:xfrm>
          <a:off x="46117" y="988985"/>
          <a:ext cx="568589" cy="283220"/>
        </a:xfrm>
        <a:prstGeom prst="roundRect">
          <a:avLst/>
        </a:prstGeom>
        <a:solidFill>
          <a:srgbClr val="ED425D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>
              <a:latin typeface="Univers Condensed" panose="020B0506020202050204" pitchFamily="34" charset="0"/>
            </a:rPr>
            <a:t>Performance du service</a:t>
          </a:r>
        </a:p>
      </dsp:txBody>
      <dsp:txXfrm>
        <a:off x="59943" y="1002811"/>
        <a:ext cx="540937" cy="255568"/>
      </dsp:txXfrm>
    </dsp:sp>
    <dsp:sp modelId="{35291467-B2CC-4BFD-A7A9-1B628A6A9AED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721" y="842300"/>
              </a:moveTo>
              <a:arcTo wR="808166" hR="808166" stAng="10654759" swAng="1725774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74E61D-4E77-4825-B6B3-ED9BA081B79E}">
      <dsp:nvSpPr>
        <dsp:cNvPr id="0" name=""/>
        <dsp:cNvSpPr/>
      </dsp:nvSpPr>
      <dsp:spPr>
        <a:xfrm>
          <a:off x="202307" y="305267"/>
          <a:ext cx="568319" cy="283220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800" kern="1200" dirty="0">
              <a:latin typeface="Univers Condensed" panose="020B0506020202050204" pitchFamily="34" charset="0"/>
            </a:rPr>
            <a:t>Economique et sociétal</a:t>
          </a:r>
        </a:p>
      </dsp:txBody>
      <dsp:txXfrm>
        <a:off x="216133" y="319093"/>
        <a:ext cx="540667" cy="255568"/>
      </dsp:txXfrm>
    </dsp:sp>
    <dsp:sp modelId="{3D62362D-83F0-4F76-A36B-9EB6ACB8EC4D}">
      <dsp:nvSpPr>
        <dsp:cNvPr id="0" name=""/>
        <dsp:cNvSpPr/>
      </dsp:nvSpPr>
      <dsp:spPr>
        <a:xfrm>
          <a:off x="310150" y="142594"/>
          <a:ext cx="1616333" cy="1616333"/>
        </a:xfrm>
        <a:custGeom>
          <a:avLst/>
          <a:gdLst/>
          <a:ahLst/>
          <a:cxnLst/>
          <a:rect l="0" t="0" r="0" b="0"/>
          <a:pathLst>
            <a:path>
              <a:moveTo>
                <a:pt x="323728" y="161287"/>
              </a:moveTo>
              <a:arcTo wR="808166" hR="808166" stAng="13990259" swAng="96478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457770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252.xml"/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979" tIns="45990" rIns="91979" bIns="45990" rtlCol="0"/>
          <a:lstStyle>
            <a:lvl1pPr algn="l">
              <a:defRPr sz="1200">
                <a:latin typeface="Arial Narrow" panose="020B0606020202030204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979" tIns="45990" rIns="91979" bIns="45990" rtlCol="0"/>
          <a:lstStyle>
            <a:lvl1pPr algn="r">
              <a:defRPr sz="1200">
                <a:latin typeface="Arial Narrow" panose="020B0606020202030204" pitchFamily="34" charset="0"/>
              </a:defRPr>
            </a:lvl1pPr>
          </a:lstStyle>
          <a:p>
            <a:fld id="{5FB59028-C3C9-F049-BB9E-DF23E16981A7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79" tIns="45990" rIns="91979" bIns="4599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1" y="4705351"/>
            <a:ext cx="5435600" cy="4457700"/>
          </a:xfrm>
          <a:prstGeom prst="rect">
            <a:avLst/>
          </a:prstGeom>
        </p:spPr>
        <p:txBody>
          <a:bodyPr vert="horz" lIns="91979" tIns="45990" rIns="91979" bIns="4599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1" y="9408981"/>
            <a:ext cx="6794500" cy="495300"/>
          </a:xfrm>
          <a:prstGeom prst="rect">
            <a:avLst/>
          </a:prstGeom>
        </p:spPr>
        <p:txBody>
          <a:bodyPr vert="horz" lIns="91979" tIns="45990" rIns="91979" bIns="45990" rtlCol="0" anchor="b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979" tIns="45990" rIns="91979" bIns="45990" rtlCol="0" anchor="b"/>
          <a:lstStyle>
            <a:lvl1pPr algn="r">
              <a:defRPr sz="1200">
                <a:latin typeface="Arial Narrow" panose="020B0606020202030204" pitchFamily="34" charset="0"/>
              </a:defRPr>
            </a:lvl1pPr>
          </a:lstStyle>
          <a:p>
            <a:fld id="{6AB6F1B7-C52E-BF45-9552-B07E8CBDA0F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1425351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 Narrow" panose="020B0606020202030204" pitchFamily="34" charset="0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69773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09255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64126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9795">
              <a:defRPr/>
            </a:pPr>
            <a:r>
              <a:rPr lang="fr-FR" dirty="0"/>
              <a:t>,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982989-8C50-C243-9E33-8D58DD751AD7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91022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982989-8C50-C243-9E33-8D58DD751AD7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9581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982989-8C50-C243-9E33-8D58DD751AD7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51184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982989-8C50-C243-9E33-8D58DD751AD7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436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982989-8C50-C243-9E33-8D58DD751AD7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832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6931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extShape 1"/>
          <p:cNvSpPr txBox="1"/>
          <p:nvPr/>
        </p:nvSpPr>
        <p:spPr>
          <a:xfrm>
            <a:off x="3883258" y="9466088"/>
            <a:ext cx="2972093" cy="500480"/>
          </a:xfrm>
          <a:prstGeom prst="rect">
            <a:avLst/>
          </a:prstGeom>
          <a:noFill/>
          <a:ln>
            <a:noFill/>
          </a:ln>
        </p:spPr>
        <p:txBody>
          <a:bodyPr lIns="91833" tIns="45916" rIns="91833" bIns="45916" anchor="b"/>
          <a:lstStyle/>
          <a:p>
            <a:pPr marL="216926" indent="-203550" algn="r">
              <a:defRPr/>
            </a:pPr>
            <a:fld id="{6341C6A4-1892-4044-B02F-A649E00F07BE}" type="slidenum">
              <a:rPr lang="fr-FR" sz="12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 Unicode MS"/>
              </a:rPr>
              <a:pPr marL="216926" indent="-203550" algn="r">
                <a:defRPr/>
              </a:pPr>
              <a:t>3</a:t>
            </a:fld>
            <a:endParaRPr lang="fr-FR" sz="1400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  <p:sp>
        <p:nvSpPr>
          <p:cNvPr id="154" name="CustomShape 2"/>
          <p:cNvSpPr/>
          <p:nvPr/>
        </p:nvSpPr>
        <p:spPr>
          <a:xfrm>
            <a:off x="4046595" y="9748205"/>
            <a:ext cx="3088991" cy="498887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/>
          <a:lstStyle/>
          <a:p>
            <a:pPr marL="216926" indent="-203550" algn="r">
              <a:lnSpc>
                <a:spcPct val="95000"/>
              </a:lnSpc>
              <a:defRPr/>
            </a:pPr>
            <a:fld id="{B9FC75A5-FA40-4496-BB8E-7999A115FFCB}" type="slidenum">
              <a:rPr lang="fr-FR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Times New Roman"/>
                <a:ea typeface="Arial Unicode MS"/>
              </a:rPr>
              <a:pPr marL="216926" indent="-203550" algn="r">
                <a:lnSpc>
                  <a:spcPct val="95000"/>
                </a:lnSpc>
                <a:defRPr/>
              </a:pPr>
              <a:t>3</a:t>
            </a:fld>
            <a:endParaRPr lang="fr-FR" spc="-1">
              <a:solidFill>
                <a:srgbClr val="000000"/>
              </a:solidFill>
              <a:uFill>
                <a:solidFill>
                  <a:srgbClr val="FFFFFF"/>
                </a:solidFill>
              </a:uFill>
            </a:endParaRPr>
          </a:p>
        </p:txBody>
      </p:sp>
      <p:sp>
        <p:nvSpPr>
          <p:cNvPr id="155" name="CustomShape 3"/>
          <p:cNvSpPr/>
          <p:nvPr/>
        </p:nvSpPr>
        <p:spPr>
          <a:xfrm>
            <a:off x="714199" y="4874103"/>
            <a:ext cx="5707187" cy="4604736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  <p:extLst>
      <p:ext uri="{BB962C8B-B14F-4D97-AF65-F5344CB8AC3E}">
        <p14:creationId xmlns:p14="http://schemas.microsoft.com/office/powerpoint/2010/main" val="15117479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471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18229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36635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717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B6F1B7-C52E-BF45-9552-B07E8CBDA0F7}" type="slidenum">
              <a:rPr lang="fr-FR" smtClean="0"/>
              <a:pPr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41136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982989-8C50-C243-9E33-8D58DD751AD7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5682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31.jpeg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7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3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41.jpeg"/><Relationship Id="rId5" Type="http://schemas.openxmlformats.org/officeDocument/2006/relationships/image" Target="../media/image40.png"/><Relationship Id="rId4" Type="http://schemas.openxmlformats.org/officeDocument/2006/relationships/image" Target="../media/image29.jpe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104.xml"/><Relationship Id="rId4" Type="http://schemas.openxmlformats.org/officeDocument/2006/relationships/image" Target="../media/image19.png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05.xml"/><Relationship Id="rId4" Type="http://schemas.openxmlformats.org/officeDocument/2006/relationships/image" Target="../media/image19.png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0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07.xml"/><Relationship Id="rId4" Type="http://schemas.openxmlformats.org/officeDocument/2006/relationships/image" Target="../media/image19.pn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image" Target="../media/image45.png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44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5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34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133.xml"/><Relationship Id="rId9" Type="http://schemas.openxmlformats.org/officeDocument/2006/relationships/tags" Target="../tags/tag138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3.xml"/><Relationship Id="rId11" Type="http://schemas.openxmlformats.org/officeDocument/2006/relationships/image" Target="../media/image43.emf"/><Relationship Id="rId5" Type="http://schemas.openxmlformats.org/officeDocument/2006/relationships/tags" Target="../tags/tag14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41.xml"/><Relationship Id="rId9" Type="http://schemas.openxmlformats.org/officeDocument/2006/relationships/slideMaster" Target="../slideMasters/slideMaster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14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15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157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image" Target="../media/image43.emf"/><Relationship Id="rId2" Type="http://schemas.openxmlformats.org/officeDocument/2006/relationships/tags" Target="../tags/tag163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5" Type="http://schemas.openxmlformats.org/officeDocument/2006/relationships/tags" Target="../tags/tag166.xml"/><Relationship Id="rId15" Type="http://schemas.openxmlformats.org/officeDocument/2006/relationships/slideMaster" Target="../slideMasters/slideMaster16.xml"/><Relationship Id="rId10" Type="http://schemas.openxmlformats.org/officeDocument/2006/relationships/tags" Target="../tags/tag171.xml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17" Type="http://schemas.openxmlformats.org/officeDocument/2006/relationships/image" Target="../media/image43.emf"/><Relationship Id="rId2" Type="http://schemas.openxmlformats.org/officeDocument/2006/relationships/tags" Target="../tags/tag176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slideMaster" Target="../slideMasters/slideMaster16.xml"/><Relationship Id="rId10" Type="http://schemas.openxmlformats.org/officeDocument/2006/relationships/tags" Target="../tags/tag184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image" Target="../media/image43.emf"/><Relationship Id="rId3" Type="http://schemas.openxmlformats.org/officeDocument/2006/relationships/tags" Target="../tags/tag190.xml"/><Relationship Id="rId7" Type="http://schemas.openxmlformats.org/officeDocument/2006/relationships/tags" Target="../tags/tag194.xml"/><Relationship Id="rId12" Type="http://schemas.openxmlformats.org/officeDocument/2006/relationships/tags" Target="../tags/tag199.xml"/><Relationship Id="rId17" Type="http://schemas.openxmlformats.org/officeDocument/2006/relationships/oleObject" Target="../embeddings/oleObject7.bin"/><Relationship Id="rId2" Type="http://schemas.openxmlformats.org/officeDocument/2006/relationships/tags" Target="../tags/tag189.xml"/><Relationship Id="rId16" Type="http://schemas.openxmlformats.org/officeDocument/2006/relationships/slideMaster" Target="../slideMasters/slideMaster16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5" Type="http://schemas.openxmlformats.org/officeDocument/2006/relationships/tags" Target="../tags/tag192.xml"/><Relationship Id="rId15" Type="http://schemas.openxmlformats.org/officeDocument/2006/relationships/tags" Target="../tags/tag202.xml"/><Relationship Id="rId10" Type="http://schemas.openxmlformats.org/officeDocument/2006/relationships/tags" Target="../tags/tag197.xml"/><Relationship Id="rId4" Type="http://schemas.openxmlformats.org/officeDocument/2006/relationships/tags" Target="../tags/tag191.xml"/><Relationship Id="rId9" Type="http://schemas.openxmlformats.org/officeDocument/2006/relationships/tags" Target="../tags/tag196.xml"/><Relationship Id="rId14" Type="http://schemas.openxmlformats.org/officeDocument/2006/relationships/tags" Target="../tags/tag201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tags" Target="../tags/tag214.xml"/><Relationship Id="rId18" Type="http://schemas.openxmlformats.org/officeDocument/2006/relationships/image" Target="../media/image46.emf"/><Relationship Id="rId3" Type="http://schemas.openxmlformats.org/officeDocument/2006/relationships/tags" Target="../tags/tag204.xml"/><Relationship Id="rId7" Type="http://schemas.openxmlformats.org/officeDocument/2006/relationships/tags" Target="../tags/tag208.xml"/><Relationship Id="rId12" Type="http://schemas.openxmlformats.org/officeDocument/2006/relationships/tags" Target="../tags/tag213.xml"/><Relationship Id="rId17" Type="http://schemas.openxmlformats.org/officeDocument/2006/relationships/oleObject" Target="../embeddings/oleObject8.bin"/><Relationship Id="rId2" Type="http://schemas.openxmlformats.org/officeDocument/2006/relationships/tags" Target="../tags/tag203.xml"/><Relationship Id="rId16" Type="http://schemas.openxmlformats.org/officeDocument/2006/relationships/slideMaster" Target="../slideMasters/slideMaster16.xml"/><Relationship Id="rId1" Type="http://schemas.openxmlformats.org/officeDocument/2006/relationships/vmlDrawing" Target="../drawings/vmlDrawing8.vml"/><Relationship Id="rId6" Type="http://schemas.openxmlformats.org/officeDocument/2006/relationships/tags" Target="../tags/tag207.xml"/><Relationship Id="rId11" Type="http://schemas.openxmlformats.org/officeDocument/2006/relationships/tags" Target="../tags/tag212.xml"/><Relationship Id="rId5" Type="http://schemas.openxmlformats.org/officeDocument/2006/relationships/tags" Target="../tags/tag206.xml"/><Relationship Id="rId15" Type="http://schemas.openxmlformats.org/officeDocument/2006/relationships/tags" Target="../tags/tag216.xml"/><Relationship Id="rId10" Type="http://schemas.openxmlformats.org/officeDocument/2006/relationships/tags" Target="../tags/tag211.xml"/><Relationship Id="rId4" Type="http://schemas.openxmlformats.org/officeDocument/2006/relationships/tags" Target="../tags/tag205.xml"/><Relationship Id="rId9" Type="http://schemas.openxmlformats.org/officeDocument/2006/relationships/tags" Target="../tags/tag210.xml"/><Relationship Id="rId14" Type="http://schemas.openxmlformats.org/officeDocument/2006/relationships/tags" Target="../tags/tag215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tags" Target="../tags/tag228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image" Target="../media/image43.emf"/><Relationship Id="rId2" Type="http://schemas.openxmlformats.org/officeDocument/2006/relationships/tags" Target="../tags/tag217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5" Type="http://schemas.openxmlformats.org/officeDocument/2006/relationships/slideMaster" Target="../slideMasters/slideMaster16.xml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5" Type="http://schemas.openxmlformats.org/officeDocument/2006/relationships/tags" Target="../tags/tag234.xml"/><Relationship Id="rId4" Type="http://schemas.openxmlformats.org/officeDocument/2006/relationships/tags" Target="../tags/tag23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240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242.xml"/><Relationship Id="rId7" Type="http://schemas.openxmlformats.org/officeDocument/2006/relationships/image" Target="../media/image44.emf"/><Relationship Id="rId2" Type="http://schemas.openxmlformats.org/officeDocument/2006/relationships/tags" Target="../tags/tag24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243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250.xml"/><Relationship Id="rId13" Type="http://schemas.openxmlformats.org/officeDocument/2006/relationships/image" Target="../media/image48.png"/><Relationship Id="rId3" Type="http://schemas.openxmlformats.org/officeDocument/2006/relationships/tags" Target="../tags/tag245.xml"/><Relationship Id="rId7" Type="http://schemas.openxmlformats.org/officeDocument/2006/relationships/tags" Target="../tags/tag249.xml"/><Relationship Id="rId12" Type="http://schemas.openxmlformats.org/officeDocument/2006/relationships/image" Target="../media/image43.emf"/><Relationship Id="rId2" Type="http://schemas.openxmlformats.org/officeDocument/2006/relationships/tags" Target="../tags/tag24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48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247.xml"/><Relationship Id="rId10" Type="http://schemas.openxmlformats.org/officeDocument/2006/relationships/slideMaster" Target="../slideMasters/slideMaster16.xml"/><Relationship Id="rId4" Type="http://schemas.openxmlformats.org/officeDocument/2006/relationships/tags" Target="../tags/tag246.xml"/><Relationship Id="rId9" Type="http://schemas.openxmlformats.org/officeDocument/2006/relationships/tags" Target="../tags/tag25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4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4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3.xml"/><Relationship Id="rId4" Type="http://schemas.openxmlformats.org/officeDocument/2006/relationships/image" Target="../media/image19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5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9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7.xml"/><Relationship Id="rId4" Type="http://schemas.openxmlformats.org/officeDocument/2006/relationships/image" Target="../media/image14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8.xml"/><Relationship Id="rId4" Type="http://schemas.openxmlformats.org/officeDocument/2006/relationships/image" Target="../media/image14.pn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6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29061" y="2004741"/>
            <a:ext cx="3680608" cy="1990661"/>
          </a:xfrm>
        </p:spPr>
        <p:txBody>
          <a:bodyPr tIns="0" rIns="0" bIns="0" anchor="t" anchorCtr="0">
            <a:noAutofit/>
          </a:bodyPr>
          <a:lstStyle>
            <a:lvl1pPr algn="l">
              <a:defRPr sz="29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55521" y="1571408"/>
            <a:ext cx="10127740" cy="433332"/>
          </a:xfrm>
        </p:spPr>
        <p:txBody>
          <a:bodyPr tIns="0" rIns="0" bIns="0" anchor="t" anchorCtr="0">
            <a:noAutofit/>
          </a:bodyPr>
          <a:lstStyle>
            <a:lvl1pPr marL="0" indent="0" algn="l">
              <a:buNone/>
              <a:defRPr sz="1900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87D217-50BE-421C-B3A3-0E8C2DB45F1E}" type="datetime1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pic>
        <p:nvPicPr>
          <p:cNvPr id="9" name="Image 8" descr="LOGO_PFA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085" y="5429852"/>
            <a:ext cx="3099515" cy="59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5212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56B45-BE39-4B08-8BCB-902D2FEF07F3}" type="datetime1">
              <a:rPr lang="fr-FR" smtClean="0"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75913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layou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1804" y="752475"/>
            <a:ext cx="11286065" cy="344711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31801" y="1664464"/>
            <a:ext cx="5472000" cy="417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  <a:lvl6pPr>
              <a:spcBef>
                <a:spcPts val="0"/>
              </a:spcBef>
              <a:spcAft>
                <a:spcPts val="600"/>
              </a:spcAft>
              <a:defRPr/>
            </a:lvl6pPr>
            <a:lvl7pPr>
              <a:spcBef>
                <a:spcPts val="0"/>
              </a:spcBef>
              <a:spcAft>
                <a:spcPts val="600"/>
              </a:spcAft>
              <a:defRPr/>
            </a:lvl7pPr>
            <a:lvl8pPr>
              <a:spcBef>
                <a:spcPts val="0"/>
              </a:spcBef>
              <a:spcAft>
                <a:spcPts val="600"/>
              </a:spcAft>
              <a:defRPr/>
            </a:lvl8pPr>
            <a:lvl9pPr>
              <a:spcBef>
                <a:spcPts val="0"/>
              </a:spcBef>
              <a:spcAft>
                <a:spcPts val="600"/>
              </a:spcAft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4" y="1104346"/>
            <a:ext cx="11286065" cy="2215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[SUBTITLE]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245867" y="1671639"/>
            <a:ext cx="5472000" cy="4165600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0882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1" y="2024161"/>
            <a:ext cx="5384823" cy="4055699"/>
          </a:xfrm>
        </p:spPr>
        <p:txBody>
          <a:bodyPr/>
          <a:lstStyle>
            <a:lvl1pPr>
              <a:defRPr sz="2933"/>
            </a:lvl1pPr>
            <a:lvl2pPr>
              <a:defRPr sz="2000"/>
            </a:lvl2pPr>
            <a:lvl3pPr>
              <a:defRPr sz="1867"/>
            </a:lvl3pPr>
            <a:lvl4pPr>
              <a:defRPr sz="1733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023561"/>
            <a:ext cx="5384800" cy="4056299"/>
          </a:xfrm>
        </p:spPr>
        <p:txBody>
          <a:bodyPr/>
          <a:lstStyle>
            <a:lvl1pPr>
              <a:defRPr sz="2933"/>
            </a:lvl1pPr>
            <a:lvl2pPr>
              <a:defRPr sz="2000"/>
            </a:lvl2pPr>
            <a:lvl3pPr>
              <a:defRPr sz="1867"/>
            </a:lvl3pPr>
            <a:lvl4pPr>
              <a:defRPr sz="1733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2A118-58E0-B745-889D-15467ED7406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70" y="5722449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2"/>
            <a:ext cx="511536" cy="365125"/>
          </a:xfrm>
        </p:spPr>
        <p:txBody>
          <a:bodyPr/>
          <a:lstStyle>
            <a:lvl1pPr algn="ctr"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Espace réservé du titre 1">
            <a:extLst>
              <a:ext uri="{FF2B5EF4-FFF2-40B4-BE49-F238E27FC236}">
                <a16:creationId xmlns:a16="http://schemas.microsoft.com/office/drawing/2014/main" id="{FDC6B5BC-A6B1-43B9-98E1-7B44DC46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473" y="170720"/>
            <a:ext cx="1101138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828E0A4C-3319-46F3-A542-6FEF48BD55E9}"/>
              </a:ext>
            </a:extLst>
          </p:cNvPr>
          <p:cNvCxnSpPr>
            <a:cxnSpLocks/>
          </p:cNvCxnSpPr>
          <p:nvPr userDrawn="1"/>
        </p:nvCxnSpPr>
        <p:spPr>
          <a:xfrm>
            <a:off x="609601" y="1059165"/>
            <a:ext cx="1099926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3997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C7A5F77-9A92-46CF-AF0E-296CA94F05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6400" y="2624400"/>
            <a:ext cx="10800000" cy="36000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8D92F9C-9CF1-426A-9EA7-935D5427C4D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" y="449850"/>
            <a:ext cx="9683261" cy="335964"/>
          </a:xfrm>
          <a:custGeom>
            <a:avLst/>
            <a:gdLst>
              <a:gd name="connsiteX0" fmla="*/ 9609373 w 9683261"/>
              <a:gd name="connsiteY0" fmla="*/ 237817 h 335964"/>
              <a:gd name="connsiteX1" fmla="*/ 9632706 w 9683261"/>
              <a:gd name="connsiteY1" fmla="*/ 261358 h 335964"/>
              <a:gd name="connsiteX2" fmla="*/ 9609373 w 9683261"/>
              <a:gd name="connsiteY2" fmla="*/ 284899 h 335964"/>
              <a:gd name="connsiteX3" fmla="*/ 9586041 w 9683261"/>
              <a:gd name="connsiteY3" fmla="*/ 261358 h 335964"/>
              <a:gd name="connsiteX4" fmla="*/ 9609373 w 9683261"/>
              <a:gd name="connsiteY4" fmla="*/ 237817 h 335964"/>
              <a:gd name="connsiteX5" fmla="*/ 9669650 w 9683261"/>
              <a:gd name="connsiteY5" fmla="*/ 200069 h 335964"/>
              <a:gd name="connsiteX6" fmla="*/ 9683261 w 9683261"/>
              <a:gd name="connsiteY6" fmla="*/ 212909 h 335964"/>
              <a:gd name="connsiteX7" fmla="*/ 9669650 w 9683261"/>
              <a:gd name="connsiteY7" fmla="*/ 225749 h 335964"/>
              <a:gd name="connsiteX8" fmla="*/ 9656038 w 9683261"/>
              <a:gd name="connsiteY8" fmla="*/ 212909 h 335964"/>
              <a:gd name="connsiteX9" fmla="*/ 9669650 w 9683261"/>
              <a:gd name="connsiteY9" fmla="*/ 200069 h 335964"/>
              <a:gd name="connsiteX10" fmla="*/ 9609373 w 9683261"/>
              <a:gd name="connsiteY10" fmla="*/ 143445 h 335964"/>
              <a:gd name="connsiteX11" fmla="*/ 9632706 w 9683261"/>
              <a:gd name="connsiteY11" fmla="*/ 166987 h 335964"/>
              <a:gd name="connsiteX12" fmla="*/ 9609373 w 9683261"/>
              <a:gd name="connsiteY12" fmla="*/ 190527 h 335964"/>
              <a:gd name="connsiteX13" fmla="*/ 9586041 w 9683261"/>
              <a:gd name="connsiteY13" fmla="*/ 166987 h 335964"/>
              <a:gd name="connsiteX14" fmla="*/ 9609373 w 9683261"/>
              <a:gd name="connsiteY14" fmla="*/ 143445 h 335964"/>
              <a:gd name="connsiteX15" fmla="*/ 9669650 w 9683261"/>
              <a:gd name="connsiteY15" fmla="*/ 101921 h 335964"/>
              <a:gd name="connsiteX16" fmla="*/ 9683261 w 9683261"/>
              <a:gd name="connsiteY16" fmla="*/ 114762 h 335964"/>
              <a:gd name="connsiteX17" fmla="*/ 9669650 w 9683261"/>
              <a:gd name="connsiteY17" fmla="*/ 127602 h 335964"/>
              <a:gd name="connsiteX18" fmla="*/ 9656038 w 9683261"/>
              <a:gd name="connsiteY18" fmla="*/ 114762 h 335964"/>
              <a:gd name="connsiteX19" fmla="*/ 9669650 w 9683261"/>
              <a:gd name="connsiteY19" fmla="*/ 101921 h 335964"/>
              <a:gd name="connsiteX20" fmla="*/ 9609373 w 9683261"/>
              <a:gd name="connsiteY20" fmla="*/ 50961 h 335964"/>
              <a:gd name="connsiteX21" fmla="*/ 9632706 w 9683261"/>
              <a:gd name="connsiteY21" fmla="*/ 74501 h 335964"/>
              <a:gd name="connsiteX22" fmla="*/ 9609373 w 9683261"/>
              <a:gd name="connsiteY22" fmla="*/ 98043 h 335964"/>
              <a:gd name="connsiteX23" fmla="*/ 9586041 w 9683261"/>
              <a:gd name="connsiteY23" fmla="*/ 74501 h 335964"/>
              <a:gd name="connsiteX24" fmla="*/ 9609373 w 9683261"/>
              <a:gd name="connsiteY24" fmla="*/ 50961 h 335964"/>
              <a:gd name="connsiteX25" fmla="*/ 0 w 9683261"/>
              <a:gd name="connsiteY25" fmla="*/ 0 h 335964"/>
              <a:gd name="connsiteX26" fmla="*/ 739665 w 9683261"/>
              <a:gd name="connsiteY26" fmla="*/ 0 h 335964"/>
              <a:gd name="connsiteX27" fmla="*/ 9540864 w 9683261"/>
              <a:gd name="connsiteY27" fmla="*/ 0 h 335964"/>
              <a:gd name="connsiteX28" fmla="*/ 9568541 w 9683261"/>
              <a:gd name="connsiteY28" fmla="*/ 27997 h 335964"/>
              <a:gd name="connsiteX29" fmla="*/ 9540864 w 9683261"/>
              <a:gd name="connsiteY29" fmla="*/ 55995 h 335964"/>
              <a:gd name="connsiteX30" fmla="*/ 9522411 w 9683261"/>
              <a:gd name="connsiteY30" fmla="*/ 74659 h 335964"/>
              <a:gd name="connsiteX31" fmla="*/ 9540864 w 9683261"/>
              <a:gd name="connsiteY31" fmla="*/ 97990 h 335964"/>
              <a:gd name="connsiteX32" fmla="*/ 9568541 w 9683261"/>
              <a:gd name="connsiteY32" fmla="*/ 121320 h 335964"/>
              <a:gd name="connsiteX33" fmla="*/ 9545478 w 9683261"/>
              <a:gd name="connsiteY33" fmla="*/ 149317 h 335964"/>
              <a:gd name="connsiteX34" fmla="*/ 9540864 w 9683261"/>
              <a:gd name="connsiteY34" fmla="*/ 149317 h 335964"/>
              <a:gd name="connsiteX35" fmla="*/ 9522411 w 9683261"/>
              <a:gd name="connsiteY35" fmla="*/ 167982 h 335964"/>
              <a:gd name="connsiteX36" fmla="*/ 9540864 w 9683261"/>
              <a:gd name="connsiteY36" fmla="*/ 191313 h 335964"/>
              <a:gd name="connsiteX37" fmla="*/ 9568541 w 9683261"/>
              <a:gd name="connsiteY37" fmla="*/ 214644 h 335964"/>
              <a:gd name="connsiteX38" fmla="*/ 9540864 w 9683261"/>
              <a:gd name="connsiteY38" fmla="*/ 242641 h 335964"/>
              <a:gd name="connsiteX39" fmla="*/ 9522411 w 9683261"/>
              <a:gd name="connsiteY39" fmla="*/ 265971 h 335964"/>
              <a:gd name="connsiteX40" fmla="*/ 9540864 w 9683261"/>
              <a:gd name="connsiteY40" fmla="*/ 284636 h 335964"/>
              <a:gd name="connsiteX41" fmla="*/ 9568541 w 9683261"/>
              <a:gd name="connsiteY41" fmla="*/ 312633 h 335964"/>
              <a:gd name="connsiteX42" fmla="*/ 9540864 w 9683261"/>
              <a:gd name="connsiteY42" fmla="*/ 335964 h 335964"/>
              <a:gd name="connsiteX43" fmla="*/ 845227 w 9683261"/>
              <a:gd name="connsiteY43" fmla="*/ 335964 h 335964"/>
              <a:gd name="connsiteX44" fmla="*/ 0 w 9683261"/>
              <a:gd name="connsiteY44" fmla="*/ 335964 h 335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9683261" h="335964">
                <a:moveTo>
                  <a:pt x="9609373" y="237817"/>
                </a:moveTo>
                <a:cubicBezTo>
                  <a:pt x="9622259" y="237817"/>
                  <a:pt x="9632706" y="248357"/>
                  <a:pt x="9632706" y="261358"/>
                </a:cubicBezTo>
                <a:cubicBezTo>
                  <a:pt x="9632706" y="274359"/>
                  <a:pt x="9622259" y="284899"/>
                  <a:pt x="9609373" y="284899"/>
                </a:cubicBezTo>
                <a:cubicBezTo>
                  <a:pt x="9596486" y="284899"/>
                  <a:pt x="9586041" y="274359"/>
                  <a:pt x="9586041" y="261358"/>
                </a:cubicBezTo>
                <a:cubicBezTo>
                  <a:pt x="9586041" y="248357"/>
                  <a:pt x="9596486" y="237817"/>
                  <a:pt x="9609373" y="237817"/>
                </a:cubicBezTo>
                <a:close/>
                <a:moveTo>
                  <a:pt x="9669650" y="200069"/>
                </a:moveTo>
                <a:cubicBezTo>
                  <a:pt x="9677168" y="200069"/>
                  <a:pt x="9683261" y="205817"/>
                  <a:pt x="9683261" y="212909"/>
                </a:cubicBezTo>
                <a:cubicBezTo>
                  <a:pt x="9683261" y="220001"/>
                  <a:pt x="9677168" y="225749"/>
                  <a:pt x="9669650" y="225749"/>
                </a:cubicBezTo>
                <a:cubicBezTo>
                  <a:pt x="9662132" y="225749"/>
                  <a:pt x="9656038" y="220001"/>
                  <a:pt x="9656038" y="212909"/>
                </a:cubicBezTo>
                <a:cubicBezTo>
                  <a:pt x="9656038" y="205817"/>
                  <a:pt x="9662132" y="200069"/>
                  <a:pt x="9669650" y="200069"/>
                </a:cubicBezTo>
                <a:close/>
                <a:moveTo>
                  <a:pt x="9609373" y="143445"/>
                </a:moveTo>
                <a:cubicBezTo>
                  <a:pt x="9622259" y="143445"/>
                  <a:pt x="9632706" y="153985"/>
                  <a:pt x="9632706" y="166987"/>
                </a:cubicBezTo>
                <a:cubicBezTo>
                  <a:pt x="9632706" y="179987"/>
                  <a:pt x="9622259" y="190527"/>
                  <a:pt x="9609373" y="190527"/>
                </a:cubicBezTo>
                <a:cubicBezTo>
                  <a:pt x="9596486" y="190527"/>
                  <a:pt x="9586041" y="179987"/>
                  <a:pt x="9586041" y="166987"/>
                </a:cubicBezTo>
                <a:cubicBezTo>
                  <a:pt x="9586041" y="153985"/>
                  <a:pt x="9596486" y="143445"/>
                  <a:pt x="9609373" y="143445"/>
                </a:cubicBezTo>
                <a:close/>
                <a:moveTo>
                  <a:pt x="9669650" y="101921"/>
                </a:moveTo>
                <a:cubicBezTo>
                  <a:pt x="9677168" y="101921"/>
                  <a:pt x="9683261" y="107670"/>
                  <a:pt x="9683261" y="114762"/>
                </a:cubicBezTo>
                <a:cubicBezTo>
                  <a:pt x="9683261" y="121855"/>
                  <a:pt x="9677168" y="127602"/>
                  <a:pt x="9669650" y="127602"/>
                </a:cubicBezTo>
                <a:cubicBezTo>
                  <a:pt x="9662132" y="127602"/>
                  <a:pt x="9656038" y="121855"/>
                  <a:pt x="9656038" y="114762"/>
                </a:cubicBezTo>
                <a:cubicBezTo>
                  <a:pt x="9656038" y="107670"/>
                  <a:pt x="9662132" y="101921"/>
                  <a:pt x="9669650" y="101921"/>
                </a:cubicBezTo>
                <a:close/>
                <a:moveTo>
                  <a:pt x="9609373" y="50961"/>
                </a:moveTo>
                <a:cubicBezTo>
                  <a:pt x="9622259" y="50961"/>
                  <a:pt x="9632706" y="61501"/>
                  <a:pt x="9632706" y="74501"/>
                </a:cubicBezTo>
                <a:cubicBezTo>
                  <a:pt x="9632706" y="87503"/>
                  <a:pt x="9622259" y="98043"/>
                  <a:pt x="9609373" y="98043"/>
                </a:cubicBezTo>
                <a:cubicBezTo>
                  <a:pt x="9596486" y="98043"/>
                  <a:pt x="9586041" y="87503"/>
                  <a:pt x="9586041" y="74501"/>
                </a:cubicBezTo>
                <a:cubicBezTo>
                  <a:pt x="9586041" y="61501"/>
                  <a:pt x="9596486" y="50961"/>
                  <a:pt x="9609373" y="50961"/>
                </a:cubicBezTo>
                <a:close/>
                <a:moveTo>
                  <a:pt x="0" y="0"/>
                </a:moveTo>
                <a:lnTo>
                  <a:pt x="739665" y="0"/>
                </a:lnTo>
                <a:cubicBezTo>
                  <a:pt x="2800514" y="0"/>
                  <a:pt x="5636951" y="0"/>
                  <a:pt x="9540864" y="0"/>
                </a:cubicBezTo>
                <a:cubicBezTo>
                  <a:pt x="9559315" y="0"/>
                  <a:pt x="9568541" y="13999"/>
                  <a:pt x="9568541" y="27997"/>
                </a:cubicBezTo>
                <a:cubicBezTo>
                  <a:pt x="9568541" y="41996"/>
                  <a:pt x="9559315" y="55995"/>
                  <a:pt x="9540864" y="55995"/>
                </a:cubicBezTo>
                <a:cubicBezTo>
                  <a:pt x="9531638" y="55995"/>
                  <a:pt x="9522411" y="65327"/>
                  <a:pt x="9522411" y="74659"/>
                </a:cubicBezTo>
                <a:cubicBezTo>
                  <a:pt x="9522411" y="83992"/>
                  <a:pt x="9531638" y="93323"/>
                  <a:pt x="9540864" y="97990"/>
                </a:cubicBezTo>
                <a:cubicBezTo>
                  <a:pt x="9559315" y="97990"/>
                  <a:pt x="9568541" y="107321"/>
                  <a:pt x="9568541" y="121320"/>
                </a:cubicBezTo>
                <a:cubicBezTo>
                  <a:pt x="9568541" y="135319"/>
                  <a:pt x="9559315" y="149317"/>
                  <a:pt x="9545478" y="149317"/>
                </a:cubicBezTo>
                <a:cubicBezTo>
                  <a:pt x="9545478" y="149317"/>
                  <a:pt x="9545478" y="149317"/>
                  <a:pt x="9540864" y="149317"/>
                </a:cubicBezTo>
                <a:cubicBezTo>
                  <a:pt x="9531638" y="149317"/>
                  <a:pt x="9522411" y="158650"/>
                  <a:pt x="9522411" y="167982"/>
                </a:cubicBezTo>
                <a:cubicBezTo>
                  <a:pt x="9522411" y="181981"/>
                  <a:pt x="9531638" y="191313"/>
                  <a:pt x="9540864" y="191313"/>
                </a:cubicBezTo>
                <a:cubicBezTo>
                  <a:pt x="9559315" y="191313"/>
                  <a:pt x="9568541" y="200645"/>
                  <a:pt x="9568541" y="214644"/>
                </a:cubicBezTo>
                <a:cubicBezTo>
                  <a:pt x="9568541" y="233309"/>
                  <a:pt x="9559315" y="242641"/>
                  <a:pt x="9540864" y="242641"/>
                </a:cubicBezTo>
                <a:cubicBezTo>
                  <a:pt x="9531638" y="242641"/>
                  <a:pt x="9522411" y="251972"/>
                  <a:pt x="9522411" y="265971"/>
                </a:cubicBezTo>
                <a:cubicBezTo>
                  <a:pt x="9522411" y="275305"/>
                  <a:pt x="9531638" y="284636"/>
                  <a:pt x="9540864" y="284636"/>
                </a:cubicBezTo>
                <a:cubicBezTo>
                  <a:pt x="9559315" y="284636"/>
                  <a:pt x="9568541" y="298634"/>
                  <a:pt x="9568541" y="312633"/>
                </a:cubicBezTo>
                <a:cubicBezTo>
                  <a:pt x="9568541" y="326632"/>
                  <a:pt x="9559315" y="335964"/>
                  <a:pt x="9540864" y="335964"/>
                </a:cubicBezTo>
                <a:cubicBezTo>
                  <a:pt x="9540864" y="335964"/>
                  <a:pt x="9540864" y="335964"/>
                  <a:pt x="845227" y="335964"/>
                </a:cubicBezTo>
                <a:lnTo>
                  <a:pt x="0" y="335964"/>
                </a:lnTo>
                <a:close/>
              </a:path>
            </a:pathLst>
          </a:custGeom>
          <a:solidFill>
            <a:schemeClr val="tx2"/>
          </a:solidFill>
          <a:ln w="3175">
            <a:noFill/>
          </a:ln>
        </p:spPr>
        <p:txBody>
          <a:bodyPr wrap="square" lIns="630000" tIns="0" rIns="360000" b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500" b="1" cap="all" baseline="0">
                <a:solidFill>
                  <a:schemeClr val="bg1"/>
                </a:solidFill>
                <a:latin typeface="+mn-lt"/>
              </a:defRPr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023D345-337F-488B-8D03-DF3DDDA5DDF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46100" y="6489701"/>
            <a:ext cx="1056000" cy="216000"/>
          </a:xfrm>
          <a:prstGeom prst="rect">
            <a:avLst/>
          </a:prstGeom>
        </p:spPr>
        <p:txBody>
          <a:bodyPr/>
          <a:lstStyle/>
          <a:p>
            <a:r>
              <a:rPr lang="fr-FR" noProof="0"/>
              <a:t>LYYYY/MM/DD</a:t>
            </a:r>
            <a:endParaRPr lang="en-US" b="0" noProof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509EADAA-0C96-4D73-B394-C1A53CEA1029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57223AC-9555-4A04-BCAD-D73603C5E65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75A587B-5814-4D9B-9598-FE9CB954CB01}" type="slidenum">
              <a:rPr lang="en-US" noProof="0" smtClean="0"/>
              <a:pPr/>
              <a:t>‹N°›</a:t>
            </a:fld>
            <a:endParaRPr lang="en-US" b="0" noProof="0"/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E51F8B3E-14FB-4855-BA2B-DAC0E96F21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400" y="1535088"/>
            <a:ext cx="10800000" cy="8640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969377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A128F4-7BEC-4846-BD9B-6A5D4EA266F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656695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6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5" y="2027279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276020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3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/>
            <a:endParaRPr lang="fr-FR" sz="1351">
              <a:solidFill>
                <a:prstClr val="white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6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9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9" y="686479"/>
            <a:ext cx="5737121" cy="1500187"/>
          </a:xfrm>
        </p:spPr>
        <p:txBody>
          <a:bodyPr anchor="t" anchorCtr="0"/>
          <a:lstStyle>
            <a:lvl1pPr marL="0" indent="0">
              <a:buNone/>
              <a:defRPr sz="3751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891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887296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428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9896" y="133140"/>
            <a:ext cx="9913237" cy="88844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83" y="2017545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82931-CAD4-E447-AAF3-809212EAA18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5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615" y="2017713"/>
            <a:ext cx="1993900" cy="2652712"/>
          </a:xfrm>
        </p:spPr>
        <p:txBody>
          <a:bodyPr/>
          <a:lstStyle>
            <a:lvl1pPr>
              <a:buNone/>
              <a:defRPr sz="21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94659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45" y="2027287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839316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146547" y="2024163"/>
            <a:ext cx="4847852" cy="40556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023561"/>
            <a:ext cx="5384800" cy="40562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2A118-58E0-B745-889D-15467ED74067}" type="datetime1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5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4"/>
            <a:ext cx="511536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92590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re 21"/>
          <p:cNvSpPr>
            <a:spLocks noGrp="1"/>
          </p:cNvSpPr>
          <p:nvPr>
            <p:ph type="title"/>
          </p:nvPr>
        </p:nvSpPr>
        <p:spPr>
          <a:xfrm>
            <a:off x="2" y="-2206"/>
            <a:ext cx="12173105" cy="618895"/>
          </a:xfrm>
        </p:spPr>
        <p:txBody>
          <a:bodyPr/>
          <a:lstStyle>
            <a:lvl1pPr algn="r">
              <a:defRPr lang="fr-FR" sz="2400" kern="1200" cap="small" baseline="0" dirty="0" smtClean="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91" indent="-342891">
              <a:buClr>
                <a:schemeClr val="accent5"/>
              </a:buClr>
              <a:defRPr lang="fr-FR" sz="22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>
              <a:buClr>
                <a:srgbClr val="FF0000"/>
              </a:buClr>
              <a:defRPr lang="fr-FR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tx2"/>
              </a:buClr>
              <a:buFont typeface="Wingdings" pitchFamily="2" charset="2"/>
              <a:buChar char="ü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>
              <a:buClr>
                <a:srgbClr val="00B0F0"/>
              </a:buClr>
              <a:buSzPct val="80000"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rgbClr val="00B0F0"/>
              </a:buClr>
              <a:defRPr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8741" y="893763"/>
            <a:ext cx="9441563" cy="488471"/>
          </a:xfrm>
        </p:spPr>
        <p:txBody>
          <a:bodyPr/>
          <a:lstStyle>
            <a:lvl1pPr>
              <a:buNone/>
              <a:defRPr sz="24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20347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63C87-BA84-49D7-8C73-D36C9112653E}" type="datetime1">
              <a:rPr lang="fr-FR" smtClean="0"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89846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7AAFA-7A7E-6C48-8C4D-1868FF79C82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9495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6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5" y="2027279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907590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CAAEC83-418A-4902-B25B-090DB762171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9546537-5C5F-4194-B62A-D8879F62AC1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9560315-C078-42C9-B2BC-CA81E084DAFD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0C52278-5CC6-48F5-88D9-C23BF6017258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6818E6-20A3-45CE-A22A-E54C9B43D69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34134" y="6293221"/>
            <a:ext cx="745071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403B8808-1F58-47F6-99E8-BFD0AD2E6645}" type="slidenum"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19162049"/>
      </p:ext>
    </p:extLst>
  </p:cSld>
  <p:clrMapOvr>
    <a:masterClrMapping/>
  </p:clrMapOvr>
  <p:hf sldNum="0"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FA4F39-2466-4544-914E-88F0195407A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579055D-0D9E-4645-B27C-0EC69CD3968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C7EF9B4-E711-48C1-8185-A7C9726B5003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BC17A10-01C2-4CD3-A05D-8137B1DCA3EE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BD1CBCD-7312-46A1-BBE4-09BB7461842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59536" y="6293221"/>
            <a:ext cx="660397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2282AAD0-3051-465A-BAA0-C44D326C3486}" type="slidenum">
              <a:t>‹N°›</a:t>
            </a:fld>
            <a:endParaRPr lang="fr-FR"/>
          </a:p>
        </p:txBody>
      </p:sp>
      <p:sp>
        <p:nvSpPr>
          <p:cNvPr id="6" name="Espace réservé du contenu 6">
            <a:extLst>
              <a:ext uri="{FF2B5EF4-FFF2-40B4-BE49-F238E27FC236}">
                <a16:creationId xmlns:a16="http://schemas.microsoft.com/office/drawing/2014/main" id="{C563D407-559F-429A-8382-924398CFBC0A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1147233" y="2027280"/>
            <a:ext cx="9912352" cy="397986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58376359"/>
      </p:ext>
    </p:extLst>
  </p:cSld>
  <p:clrMapOvr>
    <a:masterClrMapping/>
  </p:clrMapOvr>
  <p:hf sldNum="0"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34133" y="6293224"/>
            <a:ext cx="745067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13371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430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5"/>
            <a:ext cx="511536" cy="365125"/>
          </a:xfr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8439030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82924" y="1621244"/>
            <a:ext cx="10670877" cy="1530163"/>
          </a:xfrm>
        </p:spPr>
        <p:txBody>
          <a:bodyPr wrap="square">
            <a:noAutofit/>
          </a:bodyPr>
          <a:lstStyle>
            <a:lvl1pPr marL="457178" indent="-457178">
              <a:buClr>
                <a:srgbClr val="E2001A"/>
              </a:buClr>
              <a:buSzPct val="120000"/>
              <a:buFont typeface="Trebuchet MS" panose="020B0603020202020204" pitchFamily="34" charset="0"/>
              <a:buChar char="&gt;"/>
              <a:defRPr sz="24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5A7B90"/>
              </a:buClr>
              <a:defRPr sz="24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42" indent="-228589">
              <a:buClr>
                <a:srgbClr val="5A7B90"/>
              </a:buClr>
              <a:buFont typeface="Courier New" panose="02070309020205020404" pitchFamily="49" charset="0"/>
              <a:buChar char="o"/>
              <a:defRPr sz="20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120" indent="-228589">
              <a:buClr>
                <a:srgbClr val="5A7B90"/>
              </a:buClr>
              <a:buFont typeface="Wingdings" panose="05000000000000000000" pitchFamily="2" charset="2"/>
              <a:buChar char="ü"/>
              <a:defRPr sz="18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20749" indent="-228589">
              <a:defRPr sz="1600">
                <a:solidFill>
                  <a:srgbClr val="4F5052"/>
                </a:solidFill>
                <a:latin typeface="+mn-lt"/>
              </a:defRPr>
            </a:lvl5pPr>
            <a:lvl6pPr marL="2514474" indent="-228589">
              <a:buClr>
                <a:srgbClr val="E2001A"/>
              </a:buClr>
              <a:buFont typeface="Wingdings" panose="05000000000000000000" pitchFamily="2" charset="2"/>
              <a:buChar char="ü"/>
              <a:defRPr sz="18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fr-FR" err="1"/>
              <a:t>Modify</a:t>
            </a:r>
            <a:r>
              <a:rPr lang="fr-FR"/>
              <a:t> the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5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-2464" y="654551"/>
            <a:ext cx="317511" cy="660700"/>
          </a:xfrm>
          <a:prstGeom prst="rect">
            <a:avLst/>
          </a:prstGeom>
          <a:solidFill>
            <a:srgbClr val="FBBB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" y="-6150"/>
            <a:ext cx="317511" cy="660700"/>
          </a:xfrm>
          <a:prstGeom prst="rect">
            <a:avLst/>
          </a:prstGeom>
          <a:solidFill>
            <a:srgbClr val="CAD5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82924" y="335493"/>
            <a:ext cx="10670877" cy="6463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3600" baseline="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a titl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8110" y="6325996"/>
            <a:ext cx="429071" cy="49839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38110" y="6376772"/>
            <a:ext cx="4290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9CA133D-D898-4320-8092-994B576CEF8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17" descr="SIA-LOGO-Q.png">
            <a:extLst>
              <a:ext uri="{FF2B5EF4-FFF2-40B4-BE49-F238E27FC236}">
                <a16:creationId xmlns:a16="http://schemas.microsoft.com/office/drawing/2014/main" id="{F6F73E95-4F07-4FDE-AE95-3FE69B0FF2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2549" y="654550"/>
            <a:ext cx="735559" cy="238679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DD31A10-4F5C-4666-BC93-3701312E48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62" y="6093778"/>
            <a:ext cx="2350009" cy="764223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942389" y="6325996"/>
            <a:ext cx="1266825" cy="295275"/>
          </a:xfrm>
          <a:prstGeom prst="rect">
            <a:avLst/>
          </a:prstGeom>
        </p:spPr>
      </p:pic>
      <p:pic>
        <p:nvPicPr>
          <p:cNvPr id="14" name="Picture 2" descr="CESA 4.0 // Automotive Electronics - SIA">
            <a:extLst>
              <a:ext uri="{FF2B5EF4-FFF2-40B4-BE49-F238E27FC236}">
                <a16:creationId xmlns:a16="http://schemas.microsoft.com/office/drawing/2014/main" id="{F3F7AD41-18F1-6843-A912-CBDB388AE4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7549" y="6100219"/>
            <a:ext cx="1906953" cy="762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86183" y="6302183"/>
            <a:ext cx="9144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214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048A2D-45E7-47C4-B250-9C729560A903}" type="datetimeFigureOut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4262C-7F6B-4886-9DA6-CBCC00B0D7A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49359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1200000"/>
            <a:ext cx="11232000" cy="960000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 bwMode="gray"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416000" y="240000"/>
            <a:ext cx="7296000" cy="480000"/>
          </a:xfrm>
        </p:spPr>
        <p:txBody>
          <a:bodyPr/>
          <a:lstStyle>
            <a:lvl1pPr marL="143996" indent="-143996" algn="r">
              <a:spcAft>
                <a:spcPts val="0"/>
              </a:spcAft>
              <a:buFont typeface="+mj-lt"/>
              <a:buAutoNum type="arabicPeriod"/>
              <a:defRPr sz="1000" b="1"/>
            </a:lvl1pPr>
            <a:lvl2pPr marL="143996" indent="-143996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10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99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16000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352000" y="2448000"/>
            <a:ext cx="3360000" cy="343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69894684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3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/>
            <a:endParaRPr lang="fr-FR" sz="1351">
              <a:solidFill>
                <a:prstClr val="white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6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9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9" y="686479"/>
            <a:ext cx="5737121" cy="1500187"/>
          </a:xfrm>
        </p:spPr>
        <p:txBody>
          <a:bodyPr anchor="t" anchorCtr="0"/>
          <a:lstStyle>
            <a:lvl1pPr marL="0" indent="0">
              <a:buNone/>
              <a:defRPr sz="3751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891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776455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AFD768-2F0D-4ED2-9969-4992CF4FF396}" type="datetime1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045873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428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9896" y="133140"/>
            <a:ext cx="9913237" cy="88844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83" y="2017545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82931-CAD4-E447-AAF3-809212EAA18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5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615" y="2017713"/>
            <a:ext cx="1993900" cy="2652712"/>
          </a:xfrm>
        </p:spPr>
        <p:txBody>
          <a:bodyPr/>
          <a:lstStyle>
            <a:lvl1pPr>
              <a:buNone/>
              <a:defRPr sz="21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78008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45" y="2027287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39025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146547" y="2024163"/>
            <a:ext cx="4847852" cy="40556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023561"/>
            <a:ext cx="5384800" cy="40562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2A118-58E0-B745-889D-15467ED74067}" type="datetime1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5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4"/>
            <a:ext cx="511536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134513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re 21"/>
          <p:cNvSpPr>
            <a:spLocks noGrp="1"/>
          </p:cNvSpPr>
          <p:nvPr>
            <p:ph type="title"/>
          </p:nvPr>
        </p:nvSpPr>
        <p:spPr>
          <a:xfrm>
            <a:off x="2" y="-2206"/>
            <a:ext cx="12173105" cy="618895"/>
          </a:xfrm>
        </p:spPr>
        <p:txBody>
          <a:bodyPr/>
          <a:lstStyle>
            <a:lvl1pPr algn="r">
              <a:defRPr lang="fr-FR" sz="2400" kern="1200" cap="small" baseline="0" dirty="0" smtClean="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91" indent="-342891">
              <a:buClr>
                <a:schemeClr val="accent5"/>
              </a:buClr>
              <a:defRPr lang="fr-FR" sz="22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>
              <a:buClr>
                <a:srgbClr val="FF0000"/>
              </a:buClr>
              <a:defRPr lang="fr-FR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tx2"/>
              </a:buClr>
              <a:buFont typeface="Wingdings" pitchFamily="2" charset="2"/>
              <a:buChar char="ü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>
              <a:buClr>
                <a:srgbClr val="00B0F0"/>
              </a:buClr>
              <a:buSzPct val="80000"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rgbClr val="00B0F0"/>
              </a:buClr>
              <a:defRPr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8741" y="893763"/>
            <a:ext cx="9441563" cy="488471"/>
          </a:xfrm>
        </p:spPr>
        <p:txBody>
          <a:bodyPr/>
          <a:lstStyle>
            <a:lvl1pPr>
              <a:buNone/>
              <a:defRPr sz="24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4430993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7AAFA-7A7E-6C48-8C4D-1868FF79C82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78121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6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5" y="2027279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71030432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CAAEC83-418A-4902-B25B-090DB762171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9546537-5C5F-4194-B62A-D8879F62AC1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9560315-C078-42C9-B2BC-CA81E084DAFD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0C52278-5CC6-48F5-88D9-C23BF6017258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6818E6-20A3-45CE-A22A-E54C9B43D69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34134" y="6293221"/>
            <a:ext cx="745071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403B8808-1F58-47F6-99E8-BFD0AD2E6645}" type="slidenum"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4029097"/>
      </p:ext>
    </p:extLst>
  </p:cSld>
  <p:clrMapOvr>
    <a:masterClrMapping/>
  </p:clrMapOvr>
  <p:hf sldNum="0"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FA4F39-2466-4544-914E-88F0195407A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579055D-0D9E-4645-B27C-0EC69CD3968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C7EF9B4-E711-48C1-8185-A7C9726B5003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BC17A10-01C2-4CD3-A05D-8137B1DCA3EE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BD1CBCD-7312-46A1-BBE4-09BB7461842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59536" y="6293221"/>
            <a:ext cx="660397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2282AAD0-3051-465A-BAA0-C44D326C3486}" type="slidenum">
              <a:t>‹N°›</a:t>
            </a:fld>
            <a:endParaRPr lang="fr-FR"/>
          </a:p>
        </p:txBody>
      </p:sp>
      <p:sp>
        <p:nvSpPr>
          <p:cNvPr id="6" name="Espace réservé du contenu 6">
            <a:extLst>
              <a:ext uri="{FF2B5EF4-FFF2-40B4-BE49-F238E27FC236}">
                <a16:creationId xmlns:a16="http://schemas.microsoft.com/office/drawing/2014/main" id="{C563D407-559F-429A-8382-924398CFBC0A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1147233" y="2027280"/>
            <a:ext cx="9912352" cy="397986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88279856"/>
      </p:ext>
    </p:extLst>
  </p:cSld>
  <p:clrMapOvr>
    <a:masterClrMapping/>
  </p:clrMapOvr>
  <p:hf sldNum="0"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34133" y="6293224"/>
            <a:ext cx="745067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240002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3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/>
            <a:endParaRPr lang="fr-FR" sz="1351">
              <a:solidFill>
                <a:prstClr val="white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33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6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9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9" y="686479"/>
            <a:ext cx="5737121" cy="1500187"/>
          </a:xfrm>
        </p:spPr>
        <p:txBody>
          <a:bodyPr anchor="t" anchorCtr="0"/>
          <a:lstStyle>
            <a:lvl1pPr marL="0" indent="0">
              <a:buNone/>
              <a:defRPr sz="3751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891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935017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06BC-CB92-4A16-9809-7197688A0BFD}" type="datetime1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17785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146547" y="2024163"/>
            <a:ext cx="4847852" cy="40556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023561"/>
            <a:ext cx="5384800" cy="40562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2A118-58E0-B745-889D-15467ED74067}" type="datetime1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33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5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4"/>
            <a:ext cx="511536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007680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re 21"/>
          <p:cNvSpPr>
            <a:spLocks noGrp="1"/>
          </p:cNvSpPr>
          <p:nvPr>
            <p:ph type="title"/>
          </p:nvPr>
        </p:nvSpPr>
        <p:spPr>
          <a:xfrm>
            <a:off x="2" y="-2206"/>
            <a:ext cx="12173105" cy="618895"/>
          </a:xfrm>
        </p:spPr>
        <p:txBody>
          <a:bodyPr/>
          <a:lstStyle>
            <a:lvl1pPr algn="r">
              <a:defRPr lang="fr-FR" sz="2400" kern="1200" cap="small" baseline="0" dirty="0" smtClean="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91" indent="-342891">
              <a:buClr>
                <a:schemeClr val="accent5"/>
              </a:buClr>
              <a:defRPr lang="fr-FR" sz="22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>
              <a:buClr>
                <a:srgbClr val="FF0000"/>
              </a:buClr>
              <a:defRPr lang="fr-FR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tx2"/>
              </a:buClr>
              <a:buFont typeface="Wingdings" pitchFamily="2" charset="2"/>
              <a:buChar char="ü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>
              <a:buClr>
                <a:srgbClr val="00B0F0"/>
              </a:buClr>
              <a:buSzPct val="80000"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rgbClr val="00B0F0"/>
              </a:buClr>
              <a:defRPr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8741" y="893763"/>
            <a:ext cx="9441563" cy="488471"/>
          </a:xfrm>
        </p:spPr>
        <p:txBody>
          <a:bodyPr/>
          <a:lstStyle>
            <a:lvl1pPr>
              <a:buNone/>
              <a:defRPr sz="24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80387296"/>
      </p:ext>
    </p:extLst>
  </p:cSld>
  <p:clrMapOvr>
    <a:masterClrMapping/>
  </p:clrMapOvr>
  <p:transition spd="slow">
    <p:zoom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33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6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5" y="2027279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8621680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FA4F39-2466-4544-914E-88F0195407A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579055D-0D9E-4645-B27C-0EC69CD3968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C7EF9B4-E711-48C1-8185-A7C9726B5003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BC17A10-01C2-4CD3-A05D-8137B1DCA3EE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33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BD1CBCD-7312-46A1-BBE4-09BB7461842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59536" y="6293221"/>
            <a:ext cx="660397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2282AAD0-3051-465A-BAA0-C44D326C3486}" type="slidenum">
              <a:t>‹N°›</a:t>
            </a:fld>
            <a:endParaRPr lang="fr-FR"/>
          </a:p>
        </p:txBody>
      </p:sp>
      <p:sp>
        <p:nvSpPr>
          <p:cNvPr id="6" name="Espace réservé du contenu 6">
            <a:extLst>
              <a:ext uri="{FF2B5EF4-FFF2-40B4-BE49-F238E27FC236}">
                <a16:creationId xmlns:a16="http://schemas.microsoft.com/office/drawing/2014/main" id="{C563D407-559F-429A-8382-924398CFBC0A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1147233" y="2027280"/>
            <a:ext cx="9912352" cy="397986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47689168"/>
      </p:ext>
    </p:extLst>
  </p:cSld>
  <p:clrMapOvr>
    <a:masterClrMapping/>
  </p:clrMapOvr>
  <p:hf sldNum="0"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82924" y="1621244"/>
            <a:ext cx="10670877" cy="1530163"/>
          </a:xfrm>
        </p:spPr>
        <p:txBody>
          <a:bodyPr wrap="square">
            <a:noAutofit/>
          </a:bodyPr>
          <a:lstStyle>
            <a:lvl1pPr marL="457178" indent="-457178">
              <a:buClr>
                <a:srgbClr val="E2001A"/>
              </a:buClr>
              <a:buSzPct val="120000"/>
              <a:buFont typeface="Trebuchet MS" panose="020B0603020202020204" pitchFamily="34" charset="0"/>
              <a:buChar char="&gt;"/>
              <a:defRPr sz="24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rgbClr val="5A7B90"/>
              </a:buClr>
              <a:defRPr sz="24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42" indent="-228589">
              <a:buClr>
                <a:srgbClr val="5A7B90"/>
              </a:buClr>
              <a:buFont typeface="Courier New" panose="02070309020205020404" pitchFamily="49" charset="0"/>
              <a:buChar char="o"/>
              <a:defRPr sz="20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120" indent="-228589">
              <a:buClr>
                <a:srgbClr val="5A7B90"/>
              </a:buClr>
              <a:buFont typeface="Wingdings" panose="05000000000000000000" pitchFamily="2" charset="2"/>
              <a:buChar char="ü"/>
              <a:defRPr sz="18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20749" indent="-228589">
              <a:defRPr sz="1600">
                <a:solidFill>
                  <a:srgbClr val="4F5052"/>
                </a:solidFill>
                <a:latin typeface="+mn-lt"/>
              </a:defRPr>
            </a:lvl5pPr>
            <a:lvl6pPr marL="2514474" indent="-228589">
              <a:buClr>
                <a:srgbClr val="E2001A"/>
              </a:buClr>
              <a:buFont typeface="Wingdings" panose="05000000000000000000" pitchFamily="2" charset="2"/>
              <a:buChar char="ü"/>
              <a:defRPr sz="180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fr-FR" err="1"/>
              <a:t>Modify</a:t>
            </a:r>
            <a:r>
              <a:rPr lang="fr-FR"/>
              <a:t> the </a:t>
            </a:r>
            <a:r>
              <a:rPr lang="fr-FR" err="1"/>
              <a:t>text</a:t>
            </a:r>
            <a:endParaRPr lang="fr-FR"/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5"/>
            <a:endParaRPr lang="fr-FR"/>
          </a:p>
        </p:txBody>
      </p:sp>
      <p:sp>
        <p:nvSpPr>
          <p:cNvPr id="12" name="Rectangle 11"/>
          <p:cNvSpPr/>
          <p:nvPr userDrawn="1"/>
        </p:nvSpPr>
        <p:spPr>
          <a:xfrm>
            <a:off x="-2464" y="654551"/>
            <a:ext cx="317511" cy="660700"/>
          </a:xfrm>
          <a:prstGeom prst="rect">
            <a:avLst/>
          </a:prstGeom>
          <a:solidFill>
            <a:srgbClr val="FBBB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" y="-6150"/>
            <a:ext cx="317511" cy="660700"/>
          </a:xfrm>
          <a:prstGeom prst="rect">
            <a:avLst/>
          </a:prstGeom>
          <a:solidFill>
            <a:srgbClr val="CAD5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Arial" panose="020B0604020202020204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82924" y="335493"/>
            <a:ext cx="10670877" cy="64633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defRPr sz="3600" baseline="0">
                <a:solidFill>
                  <a:srgbClr val="1A53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here to add a titl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8110" y="6325996"/>
            <a:ext cx="429071" cy="498397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38110" y="6376772"/>
            <a:ext cx="4290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9CA133D-D898-4320-8092-994B576CEF83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" name="Image 17" descr="SIA-LOGO-Q.png">
            <a:extLst>
              <a:ext uri="{FF2B5EF4-FFF2-40B4-BE49-F238E27FC236}">
                <a16:creationId xmlns:a16="http://schemas.microsoft.com/office/drawing/2014/main" id="{F6F73E95-4F07-4FDE-AE95-3FE69B0FF2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2549" y="654550"/>
            <a:ext cx="735559" cy="238679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DD31A10-4F5C-4666-BC93-3701312E48D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2" y="6093778"/>
            <a:ext cx="2350009" cy="764223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942389" y="6325996"/>
            <a:ext cx="1266825" cy="295275"/>
          </a:xfrm>
          <a:prstGeom prst="rect">
            <a:avLst/>
          </a:prstGeom>
        </p:spPr>
      </p:pic>
      <p:pic>
        <p:nvPicPr>
          <p:cNvPr id="14" name="Picture 2" descr="CESA 4.0 // Automotive Electronics - SIA">
            <a:extLst>
              <a:ext uri="{FF2B5EF4-FFF2-40B4-BE49-F238E27FC236}">
                <a16:creationId xmlns:a16="http://schemas.microsoft.com/office/drawing/2014/main" id="{F3F7AD41-18F1-6843-A912-CBDB388AE4E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7549" y="6100219"/>
            <a:ext cx="1906953" cy="762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686183" y="6302183"/>
            <a:ext cx="9144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95329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29061" y="2004740"/>
            <a:ext cx="3680608" cy="1990661"/>
          </a:xfrm>
        </p:spPr>
        <p:txBody>
          <a:bodyPr tIns="0" rIns="0" bIns="0" anchor="t" anchorCtr="0">
            <a:noAutofit/>
          </a:bodyPr>
          <a:lstStyle>
            <a:lvl1pPr algn="l">
              <a:defRPr sz="3867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55534" y="1571411"/>
            <a:ext cx="10127740" cy="433332"/>
          </a:xfrm>
        </p:spPr>
        <p:txBody>
          <a:bodyPr tIns="0" rIns="0" bIns="0" anchor="t" anchorCtr="0">
            <a:noAutofit/>
          </a:bodyPr>
          <a:lstStyle>
            <a:lvl1pPr marL="0" indent="0" algn="l">
              <a:buNone/>
              <a:defRPr sz="2533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8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2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F60C6253-5962-4F60-942B-3684667D0C68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/>
          <a:lstStyle>
            <a:lvl1pPr algn="l">
              <a:defRPr lang="fr-FR" sz="133" b="0" i="0" u="none">
                <a:solidFill>
                  <a:srgbClr val="000000"/>
                </a:solidFill>
                <a:latin typeface="Times New Roman"/>
              </a:defRPr>
            </a:lvl1pPr>
          </a:lstStyle>
          <a:p>
            <a:r>
              <a:rPr lang="fr-FR"/>
              <a:t>Propriété PFA - Reproduction interdit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 descr="LOGO_PFA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085" y="5429857"/>
            <a:ext cx="3099515" cy="59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1904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7"/>
            <a:ext cx="4642805" cy="1362075"/>
          </a:xfrm>
        </p:spPr>
        <p:txBody>
          <a:bodyPr anchor="t">
            <a:normAutofit/>
          </a:bodyPr>
          <a:lstStyle>
            <a:lvl1pPr algn="l">
              <a:defRPr sz="3333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195657" y="686477"/>
            <a:ext cx="5737121" cy="1500187"/>
          </a:xfrm>
        </p:spPr>
        <p:txBody>
          <a:bodyPr anchor="t" anchorCtr="0"/>
          <a:lstStyle>
            <a:lvl1pPr marL="0" indent="0">
              <a:buNone/>
              <a:defRPr sz="2133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239874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907486" y="98663"/>
            <a:ext cx="4642805" cy="1362075"/>
          </a:xfrm>
        </p:spPr>
        <p:txBody>
          <a:bodyPr anchor="t">
            <a:normAutofit/>
          </a:bodyPr>
          <a:lstStyle>
            <a:lvl1pPr algn="l">
              <a:defRPr sz="3333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845280" y="1745105"/>
            <a:ext cx="5737121" cy="1500187"/>
          </a:xfrm>
        </p:spPr>
        <p:txBody>
          <a:bodyPr anchor="t" anchorCtr="0"/>
          <a:lstStyle>
            <a:lvl1pPr marL="0" indent="0">
              <a:buNone/>
              <a:defRPr sz="2133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77464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CB030BC2-5D2A-4816-97FE-033034F2BA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3896293C-7373-4898-B379-166B477F6510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53FEB1E-6EE2-4C31-AE3B-720A0DF558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r>
              <a:rPr lang="fr-FR">
                <a:solidFill>
                  <a:prstClr val="black">
                    <a:tint val="75000"/>
                  </a:prstClr>
                </a:solidFill>
                <a:cs typeface="Arial" charset="0"/>
              </a:rPr>
              <a:t>Propriété PFA - Reproduction interdite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4BE249E-2A9C-4E55-A686-DC0984E04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396787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67" y="1604798"/>
            <a:ext cx="9912351" cy="429506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6E8F6D2D-A561-4661-A857-32E1F26140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2ED220C7-B0A8-4FC7-B4CC-FCDFFA0F6FC6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92CD2225-295B-45C2-A75B-1C2CC14C9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r>
              <a:rPr lang="fr-FR">
                <a:solidFill>
                  <a:prstClr val="black">
                    <a:tint val="75000"/>
                  </a:prstClr>
                </a:solidFill>
                <a:cs typeface="Arial" charset="0"/>
              </a:rPr>
              <a:t>Propriété PFA - Reproduction interdite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033A3DE4-DC09-4F61-B554-D702C435C5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27802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427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9896" y="133141"/>
            <a:ext cx="9913237" cy="88844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85" y="2017546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82931-CAD4-E447-AAF3-809212EAA18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6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615" y="2017713"/>
            <a:ext cx="1993900" cy="2652712"/>
          </a:xfrm>
        </p:spPr>
        <p:txBody>
          <a:bodyPr/>
          <a:lstStyle>
            <a:lvl1pPr>
              <a:buNone/>
              <a:defRPr sz="16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71735" y="6353733"/>
            <a:ext cx="511536" cy="365125"/>
          </a:xfrm>
        </p:spPr>
        <p:txBody>
          <a:bodyPr/>
          <a:lstStyle>
            <a:lvl1pPr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243297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48" y="1920000"/>
            <a:ext cx="10462312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6807A08C-AE89-4A19-ABC8-D7886F5EB7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00AC3273-CEC5-4A18-A47B-227436174866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4C87E2CC-33A6-49F0-A870-E4F141F119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r>
              <a:rPr lang="fr-FR">
                <a:solidFill>
                  <a:prstClr val="black">
                    <a:tint val="75000"/>
                  </a:prstClr>
                </a:solidFill>
                <a:cs typeface="Arial" charset="0"/>
              </a:rPr>
              <a:t>Propriété PFA - Reproduction interdite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9C7FD443-2DF2-413B-8744-C7F1D2559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382766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29061" y="2004740"/>
            <a:ext cx="6987152" cy="1990661"/>
          </a:xfrm>
        </p:spPr>
        <p:txBody>
          <a:bodyPr tIns="0" rIns="0" bIns="0" anchor="t" anchorCtr="0">
            <a:noAutofit/>
          </a:bodyPr>
          <a:lstStyle>
            <a:lvl1pPr algn="l">
              <a:defRPr sz="3867" b="0">
                <a:solidFill>
                  <a:schemeClr val="bg1"/>
                </a:solidFill>
                <a:latin typeface="Arial Black" panose="020B0A04020102020204" pitchFamily="34" charset="0"/>
                <a:cs typeface="Arial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55534" y="1571411"/>
            <a:ext cx="10127740" cy="433332"/>
          </a:xfrm>
        </p:spPr>
        <p:txBody>
          <a:bodyPr tIns="0" rIns="0" bIns="0" anchor="t" anchorCtr="0">
            <a:noAutofit/>
          </a:bodyPr>
          <a:lstStyle>
            <a:lvl1pPr marL="0" indent="0" algn="l">
              <a:buNone/>
              <a:defRPr sz="2533" b="0" i="0">
                <a:solidFill>
                  <a:srgbClr val="FFFFFF"/>
                </a:solidFill>
                <a:latin typeface="Arial Black" panose="020B0A04020102020204" pitchFamily="34" charset="0"/>
                <a:cs typeface="Arial"/>
              </a:defRPr>
            </a:lvl1pPr>
            <a:lvl2pPr marL="608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2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/>
          <a:lstStyle>
            <a:lvl1pPr algn="l">
              <a:defRPr lang="fr-FR" sz="133" b="0" i="0" u="none">
                <a:solidFill>
                  <a:srgbClr val="000000"/>
                </a:solidFill>
                <a:latin typeface="Times New Roman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 algn="r"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 descr="LOGO_PFA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085" y="5429857"/>
            <a:ext cx="3099515" cy="59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10634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776" y="260648"/>
            <a:ext cx="7070824" cy="960107"/>
          </a:xfrm>
        </p:spPr>
        <p:txBody>
          <a:bodyPr wrap="none" anchor="ctr">
            <a:normAutofit/>
          </a:bodyPr>
          <a:lstStyle>
            <a:lvl1pPr algn="r">
              <a:defRPr sz="3200" b="0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43873" y="1220755"/>
            <a:ext cx="6206728" cy="960107"/>
          </a:xfrm>
        </p:spPr>
        <p:txBody>
          <a:bodyPr anchor="t" anchorCtr="0"/>
          <a:lstStyle>
            <a:lvl1pPr marL="0" indent="0" algn="r">
              <a:buNone/>
              <a:defRPr sz="2133" b="0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390620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67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/>
          <a:lstStyle>
            <a:lvl1pPr algn="l">
              <a:defRPr lang="fr-FR" sz="133" b="0" i="0" u="none">
                <a:solidFill>
                  <a:srgbClr val="000000"/>
                </a:solidFill>
                <a:latin typeface="Times New Roman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67" y="1604798"/>
            <a:ext cx="9912351" cy="4295065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770139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29061" y="2004740"/>
            <a:ext cx="6987152" cy="1990661"/>
          </a:xfrm>
        </p:spPr>
        <p:txBody>
          <a:bodyPr tIns="0" rIns="0" bIns="0" anchor="t" anchorCtr="0">
            <a:noAutofit/>
          </a:bodyPr>
          <a:lstStyle>
            <a:lvl1pPr algn="l">
              <a:defRPr sz="3867" b="0">
                <a:solidFill>
                  <a:schemeClr val="bg1"/>
                </a:solidFill>
                <a:latin typeface="Arial Black" panose="020B0A04020102020204" pitchFamily="34" charset="0"/>
                <a:cs typeface="Arial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55534" y="1571411"/>
            <a:ext cx="10127740" cy="433332"/>
          </a:xfrm>
        </p:spPr>
        <p:txBody>
          <a:bodyPr tIns="0" rIns="0" bIns="0" anchor="t" anchorCtr="0">
            <a:noAutofit/>
          </a:bodyPr>
          <a:lstStyle>
            <a:lvl1pPr marL="0" indent="0" algn="l">
              <a:buNone/>
              <a:defRPr sz="2533" b="0" i="0">
                <a:solidFill>
                  <a:srgbClr val="FFFFFF"/>
                </a:solidFill>
                <a:latin typeface="Arial Black" panose="020B0A04020102020204" pitchFamily="34" charset="0"/>
                <a:cs typeface="Arial"/>
              </a:defRPr>
            </a:lvl1pPr>
            <a:lvl2pPr marL="608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2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/>
          <a:lstStyle>
            <a:lvl1pPr algn="l">
              <a:defRPr lang="fr-FR" sz="133" b="0" i="0" u="none">
                <a:solidFill>
                  <a:srgbClr val="000000"/>
                </a:solidFill>
                <a:latin typeface="Times New Roman"/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 algn="r"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 descr="LOGO_PFA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086" y="5429857"/>
            <a:ext cx="2533637" cy="59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43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776" y="260648"/>
            <a:ext cx="7070824" cy="960107"/>
          </a:xfrm>
        </p:spPr>
        <p:txBody>
          <a:bodyPr wrap="none" anchor="ctr">
            <a:normAutofit/>
          </a:bodyPr>
          <a:lstStyle>
            <a:lvl1pPr algn="r">
              <a:defRPr sz="3200" b="0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43873" y="1220755"/>
            <a:ext cx="6206728" cy="960107"/>
          </a:xfrm>
        </p:spPr>
        <p:txBody>
          <a:bodyPr anchor="t" anchorCtr="0"/>
          <a:lstStyle>
            <a:lvl1pPr marL="0" indent="0" algn="r">
              <a:buNone/>
              <a:defRPr sz="2133" b="0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6618240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67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67" y="1604798"/>
            <a:ext cx="9912351" cy="4295065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9841844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>
  <p:cSld name="Text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11"/>
          <p:cNvSpPr txBox="1">
            <a:spLocks noGrp="1"/>
          </p:cNvSpPr>
          <p:nvPr>
            <p:ph type="body" idx="1"/>
          </p:nvPr>
        </p:nvSpPr>
        <p:spPr>
          <a:xfrm>
            <a:off x="536400" y="2333765"/>
            <a:ext cx="11163600" cy="38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600"/>
            </a:lvl1pPr>
            <a:lvl2pPr marL="1219170" lvl="1" indent="-423323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600"/>
            </a:lvl2pPr>
            <a:lvl3pPr marL="1828754" lvl="2" indent="-304792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dk2"/>
              </a:buClr>
              <a:buSzPts val="1600"/>
              <a:buNone/>
              <a:defRPr sz="1200"/>
            </a:lvl3pPr>
            <a:lvl4pPr marL="2438339" lvl="3" indent="-304792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None/>
              <a:defRPr sz="1200"/>
            </a:lvl4pPr>
            <a:lvl5pPr marL="3047924" lvl="4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400"/>
              <a:buChar char="•"/>
              <a:defRPr sz="1200"/>
            </a:lvl5pPr>
            <a:lvl6pPr marL="3657509" lvl="5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11"/>
          <p:cNvSpPr txBox="1">
            <a:spLocks noGrp="1"/>
          </p:cNvSpPr>
          <p:nvPr>
            <p:ph type="sldNum" idx="12"/>
          </p:nvPr>
        </p:nvSpPr>
        <p:spPr>
          <a:xfrm>
            <a:off x="10979875" y="6489701"/>
            <a:ext cx="72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6" name="Google Shape;56;p1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446370"/>
            <a:ext cx="9677400" cy="342900"/>
          </a:xfrm>
          <a:prstGeom prst="rect">
            <a:avLst/>
          </a:prstGeom>
          <a:noFill/>
          <a:ln>
            <a:noFill/>
          </a:ln>
        </p:spPr>
      </p:pic>
      <p:sp>
        <p:nvSpPr>
          <p:cNvPr id="57" name="Google Shape;57;p11"/>
          <p:cNvSpPr txBox="1">
            <a:spLocks noGrp="1"/>
          </p:cNvSpPr>
          <p:nvPr>
            <p:ph type="title"/>
          </p:nvPr>
        </p:nvSpPr>
        <p:spPr>
          <a:xfrm>
            <a:off x="536467" y="446200"/>
            <a:ext cx="8506000" cy="3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 sz="1467">
                <a:solidFill>
                  <a:srgbClr val="FFFFFF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58" name="Google Shape;58;p11"/>
          <p:cNvSpPr txBox="1">
            <a:spLocks noGrp="1"/>
          </p:cNvSpPr>
          <p:nvPr>
            <p:ph type="title" idx="2"/>
          </p:nvPr>
        </p:nvSpPr>
        <p:spPr>
          <a:xfrm>
            <a:off x="536400" y="1244467"/>
            <a:ext cx="111636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buNone/>
              <a:defRPr sz="26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667"/>
            </a:lvl9pPr>
          </a:lstStyle>
          <a:p>
            <a:endParaRPr/>
          </a:p>
        </p:txBody>
      </p:sp>
      <p:sp>
        <p:nvSpPr>
          <p:cNvPr id="59" name="Google Shape;59;p11"/>
          <p:cNvSpPr txBox="1">
            <a:spLocks noGrp="1"/>
          </p:cNvSpPr>
          <p:nvPr>
            <p:ph type="title" idx="3"/>
          </p:nvPr>
        </p:nvSpPr>
        <p:spPr>
          <a:xfrm>
            <a:off x="536533" y="6489700"/>
            <a:ext cx="1056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 sz="933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9pPr>
          </a:lstStyle>
          <a:p>
            <a:endParaRPr/>
          </a:p>
        </p:txBody>
      </p:sp>
      <p:sp>
        <p:nvSpPr>
          <p:cNvPr id="60" name="Google Shape;60;p11"/>
          <p:cNvSpPr txBox="1">
            <a:spLocks noGrp="1"/>
          </p:cNvSpPr>
          <p:nvPr>
            <p:ph type="title" idx="4"/>
          </p:nvPr>
        </p:nvSpPr>
        <p:spPr>
          <a:xfrm>
            <a:off x="1592533" y="6489700"/>
            <a:ext cx="4800000" cy="21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None/>
              <a:defRPr sz="933">
                <a:solidFill>
                  <a:srgbClr val="000000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00"/>
              <a:buNone/>
              <a:defRPr sz="933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090691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56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11" imgW="344" imgH="344" progId="TCLayout.ActiveDocument.1">
                  <p:embed/>
                </p:oleObj>
              </mc:Choice>
              <mc:Fallback>
                <p:oleObj name="think-cell Slide" r:id="rId11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6" name="Partnership">
            <a:extLst>
              <a:ext uri="{FF2B5EF4-FFF2-40B4-BE49-F238E27FC236}">
                <a16:creationId xmlns:a16="http://schemas.microsoft.com/office/drawing/2014/main" id="{B217107C-D279-4D90-AB38-6A6D6782398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" y="0"/>
            <a:ext cx="12192000" cy="6858000"/>
          </a:xfrm>
          <a:prstGeom prst="rect">
            <a:avLst/>
          </a:prstGeom>
        </p:spPr>
      </p:pic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Disclaimer-French (France)">
            <a:extLst>
              <a:ext uri="{FF2B5EF4-FFF2-40B4-BE49-F238E27FC236}">
                <a16:creationId xmlns:a16="http://schemas.microsoft.com/office/drawing/2014/main" id="{5A251787-815E-406D-95ED-FA5C68EEEE1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fr-FR" sz="800">
                <a:solidFill>
                  <a:schemeClr val="tx1"/>
                </a:solidFill>
                <a:latin typeface="+mn-lt"/>
              </a:rPr>
              <a:t>CONFIDENTIEL ET PROPRIÉTÉ DE McKINSEY &amp; COMPANY</a:t>
            </a:r>
          </a:p>
          <a:p>
            <a:pPr defTabSz="804863" eaLnBrk="0" hangingPunct="0"/>
            <a:r>
              <a:rPr lang="fr-FR" sz="800">
                <a:solidFill>
                  <a:schemeClr val="tx1"/>
                </a:solidFill>
                <a:latin typeface="+mn-lt"/>
              </a:rPr>
              <a:t>Toute utilisation de ce support, ainsi que de son contenu, sans autorisation expresse de McKinsey &amp; Company est strictement interdite</a:t>
            </a:r>
          </a:p>
        </p:txBody>
      </p:sp>
    </p:spTree>
    <p:extLst>
      <p:ext uri="{BB962C8B-B14F-4D97-AF65-F5344CB8AC3E}">
        <p14:creationId xmlns:p14="http://schemas.microsoft.com/office/powerpoint/2010/main" val="19111751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326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52032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87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2" tIns="45691" rIns="91382" bIns="45691" rtlCol="0" anchor="ctr"/>
          <a:lstStyle/>
          <a:p>
            <a:pPr algn="ctr" defTabSz="456875"/>
            <a:endParaRPr lang="fr-FR" sz="18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818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606629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507796" y="2583434"/>
            <a:ext cx="4642805" cy="1362075"/>
          </a:xfrm>
        </p:spPr>
        <p:txBody>
          <a:bodyPr anchor="t">
            <a:normAutofit/>
          </a:bodyPr>
          <a:lstStyle>
            <a:lvl1pPr algn="l">
              <a:defRPr sz="2500" b="1" cap="all"/>
            </a:lvl1pPr>
          </a:lstStyle>
          <a:p>
            <a:r>
              <a:rPr lang="fr-FR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279138817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ACB1E33-E5FF-447C-86C8-D2AD164B7EF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9691001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A017FC45-BFA7-4FE7-9F1F-9561D7B0EF63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1705247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10F96B25-8621-4D4C-8F08-2DA28487B5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165028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6023FD6-0A46-4B41-8F49-E0D64851062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7146865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441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21EBF74E-7681-4FD1-8312-F1969708C2B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2458136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8906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EBEB0180-CF25-470E-8580-7356ED77BB1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2377153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832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17" imgW="413" imgH="416" progId="TCLayout.ActiveDocument.1">
                  <p:embed/>
                </p:oleObj>
              </mc:Choice>
              <mc:Fallback>
                <p:oleObj name="think-cell Slide" r:id="rId1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265248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245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17" imgW="572" imgH="588" progId="TCLayout.ActiveDocument.1">
                  <p:embed/>
                </p:oleObj>
              </mc:Choice>
              <mc:Fallback>
                <p:oleObj name="think-cell Slide" r:id="rId17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12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22" name="1. On-page tracker">
            <a:extLst>
              <a:ext uri="{FF2B5EF4-FFF2-40B4-BE49-F238E27FC236}">
                <a16:creationId xmlns:a16="http://schemas.microsoft.com/office/drawing/2014/main" id="{C9F4B9E2-8CBE-4C72-8316-55D330991DC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5"/>
            </p:custDataLst>
          </p:nvPr>
        </p:nvSpPr>
        <p:spPr>
          <a:xfrm>
            <a:off x="8174736" y="89319"/>
            <a:ext cx="3465576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04482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 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516186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220584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427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3"/>
            <a:ext cx="511536" cy="365125"/>
          </a:xfr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119002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  <p:sp>
        <p:nvSpPr>
          <p:cNvPr id="6" name="1. On-page tracker">
            <a:extLst>
              <a:ext uri="{FF2B5EF4-FFF2-40B4-BE49-F238E27FC236}">
                <a16:creationId xmlns:a16="http://schemas.microsoft.com/office/drawing/2014/main" id="{118A30D9-833F-440B-AA55-24469A8874C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4240290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0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 : …</a:t>
            </a:r>
          </a:p>
        </p:txBody>
      </p:sp>
    </p:spTree>
    <p:extLst>
      <p:ext uri="{BB962C8B-B14F-4D97-AF65-F5344CB8AC3E}">
        <p14:creationId xmlns:p14="http://schemas.microsoft.com/office/powerpoint/2010/main" val="258481250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021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F2F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92286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70277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FBB34A2-F4C4-425A-991F-4DD611186E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78706"/>
            <a:ext cx="310286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1" dirty="0">
                <a:solidFill>
                  <a:schemeClr val="accent3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DC0563CA-4F57-4EBA-9A95-5CD5314FB084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F7B100"/>
              </a:buClr>
            </a:pPr>
            <a:r>
              <a:rPr lang="en-US" sz="1000" b="1" kern="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  <p:pic>
        <p:nvPicPr>
          <p:cNvPr id="14" name="Image 21">
            <a:extLst>
              <a:ext uri="{FF2B5EF4-FFF2-40B4-BE49-F238E27FC236}">
                <a16:creationId xmlns:a16="http://schemas.microsoft.com/office/drawing/2014/main" id="{9446C2EE-0762-4E18-8EDC-39BBC940B4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00031" y="-3199"/>
            <a:ext cx="2791969" cy="478688"/>
          </a:xfrm>
          <a:prstGeom prst="rect">
            <a:avLst/>
          </a:prstGeom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0D0A353E-F0B0-44AD-BDF8-59FEC8C2A048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4737" y="6664152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9578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29" y="125671"/>
            <a:ext cx="414025" cy="27318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5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111970" y="125671"/>
            <a:ext cx="9825097" cy="27318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515113"/>
            <a:ext cx="121920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75"/>
            <a:r>
              <a:rPr lang="fr-FR"/>
              <a:t> 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44618" y="6515115"/>
            <a:ext cx="847417" cy="33866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456875"/>
            <a:fld id="{E0E48C36-60D3-5A43-AA48-41867AFDBEE6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6875"/>
              <a:t>‹N°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488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29" y="125671"/>
            <a:ext cx="414025" cy="27318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6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111970" y="125671"/>
            <a:ext cx="9825097" cy="27318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515113"/>
            <a:ext cx="121920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75"/>
            <a:r>
              <a:rPr lang="fr-FR"/>
              <a:t> 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44618" y="6515115"/>
            <a:ext cx="847417" cy="33866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456875"/>
            <a:fld id="{E0E48C36-60D3-5A43-AA48-41867AFDBEE6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6875"/>
              <a:t>‹N°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1706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65" y="2017546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93" y="2017546"/>
            <a:ext cx="3485812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615" y="2017713"/>
            <a:ext cx="1993900" cy="2652712"/>
          </a:xfrm>
        </p:spPr>
        <p:txBody>
          <a:bodyPr/>
          <a:lstStyle>
            <a:lvl1pPr>
              <a:buNone/>
              <a:defRPr sz="16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515113"/>
            <a:ext cx="121920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75"/>
            <a:r>
              <a:rPr lang="fr-FR"/>
              <a:t> </a:t>
            </a:r>
          </a:p>
        </p:txBody>
      </p:sp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44618" y="6515115"/>
            <a:ext cx="847417" cy="33866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456875"/>
            <a:fld id="{E0E48C36-60D3-5A43-AA48-41867AFDBEE6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6875"/>
              <a:t>‹N°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9361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3CE5B4-EEF1-4334-867D-FD88E491FCE5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34133" y="6293225"/>
            <a:ext cx="745067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29057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2549557" y="2516922"/>
            <a:ext cx="7578891" cy="528057"/>
          </a:xfrm>
          <a:noFill/>
        </p:spPr>
        <p:txBody>
          <a:bodyPr>
            <a:normAutofit/>
          </a:bodyPr>
          <a:lstStyle>
            <a:lvl1pPr algn="l">
              <a:defRPr sz="1400" b="0" baseline="0">
                <a:solidFill>
                  <a:srgbClr val="29385E"/>
                </a:solidFill>
              </a:defRPr>
            </a:lvl1pPr>
          </a:lstStyle>
          <a:p>
            <a:r>
              <a:rPr lang="fr-FR"/>
              <a:t>CLIQUEZ POUR CHANGER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554155" y="2876939"/>
            <a:ext cx="8534400" cy="360040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1100">
                <a:solidFill>
                  <a:srgbClr val="D6D2C4"/>
                </a:solidFill>
              </a:defRPr>
            </a:lvl1pPr>
            <a:lvl2pPr marL="457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cxnSp>
        <p:nvCxnSpPr>
          <p:cNvPr id="13" name="Connecteur droit 12"/>
          <p:cNvCxnSpPr/>
          <p:nvPr userDrawn="1"/>
        </p:nvCxnSpPr>
        <p:spPr>
          <a:xfrm>
            <a:off x="9552384" y="5644541"/>
            <a:ext cx="2880320" cy="0"/>
          </a:xfrm>
          <a:prstGeom prst="line">
            <a:avLst/>
          </a:prstGeom>
          <a:ln w="9525">
            <a:solidFill>
              <a:srgbClr val="29385E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 userDrawn="1"/>
        </p:nvCxnSpPr>
        <p:spPr>
          <a:xfrm>
            <a:off x="-240704" y="5644541"/>
            <a:ext cx="2880320" cy="0"/>
          </a:xfrm>
          <a:prstGeom prst="line">
            <a:avLst/>
          </a:prstGeom>
          <a:ln w="9525">
            <a:solidFill>
              <a:srgbClr val="29385E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1693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530010"/>
            <a:ext cx="2743200" cy="191467"/>
          </a:xfrm>
        </p:spPr>
        <p:txBody>
          <a:bodyPr lIns="0" tIns="0" rIns="0" bIns="0"/>
          <a:lstStyle>
            <a:lvl1pPr>
              <a:defRPr sz="1100">
                <a:latin typeface="Arial Narrow" panose="020B0606020202030204" pitchFamily="34" charset="0"/>
              </a:defRPr>
            </a:lvl1pPr>
          </a:lstStyle>
          <a:p>
            <a:fld id="{0D418835-1E58-4433-871E-4494D508993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21/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530010"/>
            <a:ext cx="12192000" cy="191467"/>
          </a:xfrm>
        </p:spPr>
        <p:txBody>
          <a:bodyPr lIns="0" tIns="0" rIns="0" bIns="0"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839200" y="6530010"/>
            <a:ext cx="2743200" cy="191467"/>
          </a:xfrm>
        </p:spPr>
        <p:txBody>
          <a:bodyPr lIns="0" tIns="0" rIns="0" bIns="0"/>
          <a:lstStyle>
            <a:lvl1pPr>
              <a:defRPr sz="1100">
                <a:latin typeface="Arial Narrow" panose="020B0606020202030204" pitchFamily="34" charset="0"/>
              </a:defRPr>
            </a:lvl1pPr>
          </a:lstStyle>
          <a:p>
            <a:fld id="{9789B28E-9687-4C6F-9B11-9A92C46F2EA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6"/>
          <p:cNvSpPr>
            <a:spLocks noGrp="1"/>
          </p:cNvSpPr>
          <p:nvPr>
            <p:ph type="title"/>
          </p:nvPr>
        </p:nvSpPr>
        <p:spPr>
          <a:xfrm>
            <a:off x="609600" y="609600"/>
            <a:ext cx="10972800" cy="9144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09601" y="1654425"/>
            <a:ext cx="8534400" cy="477619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3309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9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53" y="2017546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82931-CAD4-E447-AAF3-809212EAA18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6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589" y="2017713"/>
            <a:ext cx="1993900" cy="2652712"/>
          </a:xfrm>
        </p:spPr>
        <p:txBody>
          <a:bodyPr/>
          <a:lstStyle>
            <a:lvl1pPr>
              <a:buNone/>
              <a:defRPr sz="12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8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8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8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8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31001" y="6296581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60806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5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43" y="2027286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93813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146548" y="313231"/>
            <a:ext cx="9913237" cy="501505"/>
          </a:xfr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2A118-58E0-B745-889D-15467ED7406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9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3"/>
            <a:ext cx="511536" cy="365125"/>
          </a:xfrm>
        </p:spPr>
        <p:txBody>
          <a:bodyPr/>
          <a:lstStyle>
            <a:lvl1pPr algn="ctr">
              <a:defRPr sz="8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1019043" y="1417646"/>
            <a:ext cx="10390495" cy="179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342857"/>
            <a:endParaRPr lang="en-US" sz="14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19037" y="1027285"/>
            <a:ext cx="4847852" cy="3011865"/>
          </a:xfrm>
        </p:spPr>
        <p:txBody>
          <a:bodyPr/>
          <a:lstStyle>
            <a:lvl1pPr>
              <a:defRPr sz="1700"/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52024" y="1027283"/>
            <a:ext cx="5384800" cy="3012311"/>
          </a:xfrm>
        </p:spPr>
        <p:txBody>
          <a:bodyPr/>
          <a:lstStyle>
            <a:lvl1pPr>
              <a:defRPr sz="1700"/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sz="half" idx="13"/>
          </p:nvPr>
        </p:nvSpPr>
        <p:spPr>
          <a:xfrm>
            <a:off x="1019037" y="4139550"/>
            <a:ext cx="4847852" cy="1405059"/>
          </a:xfrm>
        </p:spPr>
        <p:txBody>
          <a:bodyPr/>
          <a:lstStyle>
            <a:lvl1pPr>
              <a:defRPr sz="1700"/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1" name="Espace réservé du contenu 3"/>
          <p:cNvSpPr>
            <a:spLocks noGrp="1"/>
          </p:cNvSpPr>
          <p:nvPr>
            <p:ph sz="half" idx="14"/>
          </p:nvPr>
        </p:nvSpPr>
        <p:spPr>
          <a:xfrm>
            <a:off x="6052024" y="4139558"/>
            <a:ext cx="5384800" cy="1405265"/>
          </a:xfrm>
        </p:spPr>
        <p:txBody>
          <a:bodyPr/>
          <a:lstStyle>
            <a:lvl1pPr>
              <a:defRPr sz="1700"/>
            </a:lvl1pPr>
            <a:lvl2pPr>
              <a:defRPr sz="1100"/>
            </a:lvl2pPr>
            <a:lvl3pPr>
              <a:defRPr sz="1100"/>
            </a:lvl3pPr>
            <a:lvl4pPr>
              <a:defRPr sz="1000"/>
            </a:lvl4pPr>
            <a:lvl5pPr>
              <a:defRPr sz="8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481855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59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50" y="2017545"/>
            <a:ext cx="3492564" cy="410861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53FEE-4AEA-4A21-ABB5-C3C8DAA3C18A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6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587" y="2017713"/>
            <a:ext cx="1993900" cy="2652712"/>
          </a:xfrm>
        </p:spPr>
        <p:txBody>
          <a:bodyPr/>
          <a:lstStyle>
            <a:lvl1pPr>
              <a:buNone/>
              <a:defRPr sz="16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31001" y="6296599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46123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97223" y="3180448"/>
            <a:ext cx="7251172" cy="1498283"/>
          </a:xfrm>
        </p:spPr>
        <p:txBody>
          <a:bodyPr anchor="t"/>
          <a:lstStyle>
            <a:lvl1pPr algn="l">
              <a:defRPr sz="2133" b="0" cap="all"/>
            </a:lvl1pPr>
          </a:lstStyle>
          <a:p>
            <a:r>
              <a:rPr lang="fr-FR"/>
              <a:t>Modifiez le titre DU CHAP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2351584" y="1604797"/>
            <a:ext cx="7296811" cy="1479640"/>
          </a:xfrm>
        </p:spPr>
        <p:txBody>
          <a:bodyPr anchor="b">
            <a:normAutofit/>
          </a:bodyPr>
          <a:lstStyle>
            <a:lvl1pPr marL="0" indent="0">
              <a:buNone/>
              <a:defRPr sz="4267" b="0" baseline="0">
                <a:solidFill>
                  <a:srgbClr val="83786F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01 N° Chapitr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2543606" y="3087048"/>
            <a:ext cx="7104789" cy="0"/>
          </a:xfrm>
          <a:prstGeom prst="line">
            <a:avLst/>
          </a:prstGeom>
          <a:ln w="9525">
            <a:solidFill>
              <a:srgbClr val="83786F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5" name="Espace réservé du numéro de diapositive 1"/>
          <p:cNvSpPr>
            <a:spLocks noGrp="1"/>
          </p:cNvSpPr>
          <p:nvPr>
            <p:ph type="sldNum" sz="quarter" idx="14"/>
          </p:nvPr>
        </p:nvSpPr>
        <p:spPr>
          <a:xfrm>
            <a:off x="9393662" y="6309320"/>
            <a:ext cx="2558989" cy="384043"/>
          </a:xfrm>
        </p:spPr>
        <p:txBody>
          <a:bodyPr/>
          <a:lstStyle/>
          <a:p>
            <a:fld id="{0F93E2AF-52FA-49AE-99E6-1B1ECCFCFE2D}" type="slidenum">
              <a:rPr lang="fr-FR" smtClean="0"/>
              <a:t>‹N°›</a:t>
            </a:fld>
            <a:endParaRPr lang="fr-FR"/>
          </a:p>
        </p:txBody>
      </p:sp>
      <p:sp>
        <p:nvSpPr>
          <p:cNvPr id="36" name="Espace réservé du texte 3"/>
          <p:cNvSpPr>
            <a:spLocks noGrp="1"/>
          </p:cNvSpPr>
          <p:nvPr>
            <p:ph type="body" sz="half" idx="13" hasCustomPrompt="1"/>
          </p:nvPr>
        </p:nvSpPr>
        <p:spPr>
          <a:xfrm>
            <a:off x="6891768" y="6405331"/>
            <a:ext cx="4676840" cy="298307"/>
          </a:xfrm>
        </p:spPr>
        <p:txBody>
          <a:bodyPr>
            <a:noAutofit/>
          </a:bodyPr>
          <a:lstStyle>
            <a:lvl1pPr marL="0" indent="0" algn="r">
              <a:buNone/>
              <a:defRPr sz="800" baseline="0">
                <a:solidFill>
                  <a:schemeClr val="bg1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Titre du document</a:t>
            </a:r>
          </a:p>
        </p:txBody>
      </p:sp>
      <p:sp>
        <p:nvSpPr>
          <p:cNvPr id="7" name="Espace réservé du texte 3"/>
          <p:cNvSpPr>
            <a:spLocks noGrp="1"/>
          </p:cNvSpPr>
          <p:nvPr>
            <p:ph type="body" sz="half" idx="15" hasCustomPrompt="1"/>
          </p:nvPr>
        </p:nvSpPr>
        <p:spPr>
          <a:xfrm>
            <a:off x="1103445" y="6368402"/>
            <a:ext cx="2880320" cy="221564"/>
          </a:xfrm>
        </p:spPr>
        <p:txBody>
          <a:bodyPr>
            <a:noAutofit/>
          </a:bodyPr>
          <a:lstStyle>
            <a:lvl1pPr marL="0" indent="0" algn="l">
              <a:buNone/>
              <a:defRPr sz="1200" baseline="0">
                <a:solidFill>
                  <a:srgbClr val="D6D2C4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r-FR"/>
              <a:t>Nom du Site </a:t>
            </a:r>
          </a:p>
        </p:txBody>
      </p:sp>
    </p:spTree>
    <p:extLst>
      <p:ext uri="{BB962C8B-B14F-4D97-AF65-F5344CB8AC3E}">
        <p14:creationId xmlns:p14="http://schemas.microsoft.com/office/powerpoint/2010/main" val="34429914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67" y="1604798"/>
            <a:ext cx="9912351" cy="429506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6E8F6D2D-A561-4661-A857-32E1F26140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342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D220C7-B0A8-4FC7-B4CC-FCDFFA0F6FC6}" type="datetime1">
              <a:rPr kumimoji="0" lang="fr-F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charset="0"/>
              </a:rPr>
              <a:pPr marL="0" marR="0" lvl="0" indent="0" algn="l" defTabSz="342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/01/2022</a:t>
            </a:fld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charset="0"/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92CD2225-295B-45C2-A75B-1C2CC14C9A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>
              <a:defRPr/>
            </a:pPr>
            <a:r>
              <a:rPr lang="fr-FR"/>
              <a:t> 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033A3DE4-DC09-4F61-B554-D702C435C5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marL="0" marR="0" lvl="0" indent="0" algn="ctr" defTabSz="3428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E48C36-60D3-5A43-AA48-41867AFDBEE6}" type="slidenum">
              <a:rPr kumimoji="0" lang="fr-FR" sz="751" b="0" i="0" u="none" strike="noStrike" kern="1200" cap="none" spc="0" normalizeH="0" baseline="0" noProof="0" smtClean="0">
                <a:ln>
                  <a:noFill/>
                </a:ln>
                <a:solidFill>
                  <a:srgbClr val="24195D"/>
                </a:solidFill>
                <a:effectLst/>
                <a:uLnTx/>
                <a:uFillTx/>
                <a:latin typeface="Arial Narrow"/>
                <a:ea typeface="+mn-ea"/>
              </a:rPr>
              <a:pPr marL="0" marR="0" lvl="0" indent="0" algn="ctr" defTabSz="3428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751" b="0" i="0" u="none" strike="noStrike" kern="1200" cap="none" spc="0" normalizeH="0" baseline="0" noProof="0">
              <a:ln>
                <a:noFill/>
              </a:ln>
              <a:solidFill>
                <a:srgbClr val="24195D"/>
              </a:solidFill>
              <a:effectLst/>
              <a:uLnTx/>
              <a:uFillTx/>
              <a:latin typeface="Arial Narrow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87323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E0FAF72-9756-4EEB-B369-6EDD7F548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95D7E29-FA0E-4DF0-80C8-0D0D3E76BF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4508EE2-CDAB-4769-9691-ABA5E3300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60B8F-8B33-4392-BCD9-A8958D023A70}" type="datetimeFigureOut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3AE5B18-FF0A-43F3-957D-44EFCE671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2204E2-6AD9-49FB-B376-4596993C4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DB8197-1AE8-477F-94BB-9FDF83AF3F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4468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204383"/>
            <a:ext cx="10747859" cy="4694767"/>
          </a:xfrm>
          <a:prstGeom prst="rect">
            <a:avLst/>
          </a:prstGeom>
        </p:spPr>
        <p:txBody>
          <a:bodyPr lIns="0" tIns="0" rIns="0" bIns="0"/>
          <a:lstStyle>
            <a:lvl1pPr marL="237061" indent="-237061">
              <a:spcBef>
                <a:spcPts val="400"/>
              </a:spcBef>
              <a:buClr>
                <a:schemeClr val="accent1"/>
              </a:buClr>
              <a:defRPr sz="2400"/>
            </a:lvl1pPr>
            <a:lvl2pPr marL="601118" indent="-245527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2133"/>
            </a:lvl2pPr>
            <a:lvl3pPr marL="954593" indent="-234945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67"/>
            </a:lvl3pPr>
            <a:lvl4pPr marL="1310185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674242" indent="-237061">
              <a:spcBef>
                <a:spcPts val="400"/>
              </a:spcBef>
              <a:buClr>
                <a:schemeClr val="tx1"/>
              </a:buClr>
              <a:buFont typeface="Arial" pitchFamily="34" charset="0"/>
              <a:buChar char="−"/>
              <a:defRPr sz="1333"/>
            </a:lvl5pPr>
          </a:lstStyle>
          <a:p>
            <a:pPr lvl="0"/>
            <a:r>
              <a:rPr lang="fr-FR"/>
              <a:t>Premier niveau de texte</a:t>
            </a:r>
          </a:p>
          <a:p>
            <a:pPr lvl="1"/>
            <a:r>
              <a:rPr lang="fr-FR"/>
              <a:t>Second niveau de texte</a:t>
            </a:r>
          </a:p>
          <a:p>
            <a:pPr lvl="2"/>
            <a:r>
              <a:rPr lang="fr-FR"/>
              <a:t>Troisième niveau de texte</a:t>
            </a:r>
          </a:p>
          <a:p>
            <a:pPr lvl="3"/>
            <a:r>
              <a:rPr lang="fr-FR"/>
              <a:t>Quatrième niveau de texte</a:t>
            </a:r>
          </a:p>
          <a:p>
            <a:pPr lvl="4"/>
            <a:r>
              <a:rPr lang="fr-FR"/>
              <a:t>Cinquième niveau de texte</a:t>
            </a:r>
          </a:p>
        </p:txBody>
      </p:sp>
      <p:sp>
        <p:nvSpPr>
          <p:cNvPr id="7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300" y="187331"/>
            <a:ext cx="11712000" cy="215900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  <a:buFont typeface="Wingdings" pitchFamily="2" charset="2"/>
              <a:buNone/>
              <a:defRPr lang="fr-FR" sz="1600" b="1" cap="all" baseline="0" noProof="1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 cap="all"/>
              <a:t>00 titre de chapitre</a:t>
            </a:r>
            <a:endParaRPr lang="fr-FR" cap="all" noProof="1"/>
          </a:p>
        </p:txBody>
      </p:sp>
      <p:sp>
        <p:nvSpPr>
          <p:cNvPr id="8" name="Titre 3"/>
          <p:cNvSpPr>
            <a:spLocks noGrp="1"/>
          </p:cNvSpPr>
          <p:nvPr>
            <p:ph type="title" hasCustomPrompt="1"/>
          </p:nvPr>
        </p:nvSpPr>
        <p:spPr>
          <a:xfrm>
            <a:off x="241300" y="393887"/>
            <a:ext cx="11711517" cy="345157"/>
          </a:xfrm>
          <a:prstGeom prst="rect">
            <a:avLst/>
          </a:prstGeom>
        </p:spPr>
        <p:txBody>
          <a:bodyPr lIns="0" tIns="0" rIns="0" bIns="0"/>
          <a:lstStyle>
            <a:lvl1pPr>
              <a:defRPr sz="2667" cap="all" baseline="0"/>
            </a:lvl1pPr>
          </a:lstStyle>
          <a:p>
            <a:r>
              <a:rPr lang="fr-FR"/>
              <a:t>Titre de la page</a:t>
            </a:r>
          </a:p>
        </p:txBody>
      </p:sp>
    </p:spTree>
    <p:extLst>
      <p:ext uri="{BB962C8B-B14F-4D97-AF65-F5344CB8AC3E}">
        <p14:creationId xmlns:p14="http://schemas.microsoft.com/office/powerpoint/2010/main" val="2062003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2">
          <p15:clr>
            <a:srgbClr val="FBAE40"/>
          </p15:clr>
        </p15:guide>
        <p15:guide id="2" pos="340">
          <p15:clr>
            <a:srgbClr val="FBAE40"/>
          </p15:clr>
        </p15:guide>
        <p15:guide id="3" pos="5648">
          <p15:clr>
            <a:srgbClr val="FBAE40"/>
          </p15:clr>
        </p15:guide>
        <p15:guide id="4" pos="5420">
          <p15:clr>
            <a:srgbClr val="FBAE40"/>
          </p15:clr>
        </p15:guide>
        <p15:guide id="5" orient="horz" pos="113">
          <p15:clr>
            <a:srgbClr val="FBAE40"/>
          </p15:clr>
        </p15:guide>
        <p15:guide id="6" orient="horz" pos="227">
          <p15:clr>
            <a:srgbClr val="FBAE40"/>
          </p15:clr>
        </p15:guide>
        <p15:guide id="7" orient="horz" pos="341">
          <p15:clr>
            <a:srgbClr val="FBAE40"/>
          </p15:clr>
        </p15:guide>
        <p15:guide id="8" orient="horz" pos="567">
          <p15:clr>
            <a:srgbClr val="FBAE40"/>
          </p15:clr>
        </p15:guide>
        <p15:guide id="9" orient="horz" pos="278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3" y="5722341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49" y="2017545"/>
            <a:ext cx="3492564" cy="410861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553FEE-4AEA-4A21-ABB5-C3C8DAA3C18A}" type="datetime1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6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585" y="2017713"/>
            <a:ext cx="1993900" cy="2652712"/>
          </a:xfrm>
        </p:spPr>
        <p:txBody>
          <a:bodyPr/>
          <a:lstStyle>
            <a:lvl1pPr>
              <a:buNone/>
              <a:defRPr sz="16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31001" y="6296581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9682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F9B21EF-F86C-4C18-A4DD-A5134FF14A58}"/>
              </a:ext>
            </a:extLst>
          </p:cNvPr>
          <p:cNvSpPr txBox="1"/>
          <p:nvPr userDrawn="1"/>
        </p:nvSpPr>
        <p:spPr>
          <a:xfrm>
            <a:off x="11499779" y="6529000"/>
            <a:ext cx="4074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11AB65C-CAFA-4AD0-B41D-654BEC165FC3}" type="slidenum">
              <a:rPr lang="fr-FR" sz="1200" smtClean="0">
                <a:latin typeface="Univers Condensed Light" panose="020B0306020202040204" pitchFamily="34" charset="0"/>
              </a:rPr>
              <a:t>‹N°›</a:t>
            </a:fld>
            <a:endParaRPr lang="fr-FR" sz="1200">
              <a:latin typeface="Univers Condensed Light" panose="020B03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06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F9B21EF-F86C-4C18-A4DD-A5134FF14A58}"/>
              </a:ext>
            </a:extLst>
          </p:cNvPr>
          <p:cNvSpPr txBox="1"/>
          <p:nvPr userDrawn="1"/>
        </p:nvSpPr>
        <p:spPr>
          <a:xfrm>
            <a:off x="11499779" y="6529000"/>
            <a:ext cx="4074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11AB65C-CAFA-4AD0-B41D-654BEC165FC3}" type="slidenum">
              <a:rPr lang="fr-FR" sz="1200" smtClean="0">
                <a:latin typeface="Univers Condensed Light" panose="020B0306020202040204" pitchFamily="34" charset="0"/>
              </a:rPr>
              <a:t>‹N°›</a:t>
            </a:fld>
            <a:endParaRPr lang="fr-FR" sz="1200">
              <a:latin typeface="Univers Condensed Light" panose="020B03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889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F9B21EF-F86C-4C18-A4DD-A5134FF14A58}"/>
              </a:ext>
            </a:extLst>
          </p:cNvPr>
          <p:cNvSpPr txBox="1"/>
          <p:nvPr userDrawn="1"/>
        </p:nvSpPr>
        <p:spPr>
          <a:xfrm>
            <a:off x="11499779" y="6529000"/>
            <a:ext cx="4074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11AB65C-CAFA-4AD0-B41D-654BEC165FC3}" type="slidenum">
              <a:rPr lang="fr-FR" sz="1200" smtClean="0">
                <a:latin typeface="Univers Condensed Light" panose="020B0306020202040204" pitchFamily="34" charset="0"/>
              </a:rPr>
              <a:t>‹N°›</a:t>
            </a:fld>
            <a:endParaRPr lang="fr-FR" sz="1200">
              <a:latin typeface="Univers Condensed Light" panose="020B030602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509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3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78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95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46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fr-FR"/>
              <a:t>- Cliquez et modifiez le titre -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"/>
          </p:nvPr>
        </p:nvSpPr>
        <p:spPr>
          <a:xfrm>
            <a:off x="609601" y="1803189"/>
            <a:ext cx="5175769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 b="0" i="0">
                <a:latin typeface="Univers Condensed Light" panose="020F0302020204030204" pitchFamily="34" charset="0"/>
                <a:cs typeface="Univers Condensed Light" panose="020F0302020204030204" pitchFamily="34" charset="0"/>
              </a:defRPr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idx="10"/>
          </p:nvPr>
        </p:nvSpPr>
        <p:spPr>
          <a:xfrm>
            <a:off x="6381154" y="1803189"/>
            <a:ext cx="5201247" cy="4322974"/>
          </a:xfrm>
        </p:spPr>
        <p:txBody>
          <a:bodyPr/>
          <a:lstStyle>
            <a:lvl1pPr>
              <a:defRPr b="1" i="0">
                <a:latin typeface="Univers Condensed" panose="020B0306020202040204" pitchFamily="34" charset="0"/>
                <a:cs typeface="Roboto Condensed Bold"/>
              </a:defRPr>
            </a:lvl1pPr>
            <a:lvl2pPr>
              <a:defRPr b="1" i="0">
                <a:latin typeface="Univers Condensed" panose="020B0306020202040204" pitchFamily="34" charset="0"/>
              </a:defRPr>
            </a:lvl2pPr>
            <a:lvl3pPr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1BE5931-73E9-B748-8C71-1417D180E52F}"/>
              </a:ext>
            </a:extLst>
          </p:cNvPr>
          <p:cNvSpPr/>
          <p:nvPr userDrawn="1"/>
        </p:nvSpPr>
        <p:spPr>
          <a:xfrm>
            <a:off x="5765800" y="6261100"/>
            <a:ext cx="660400" cy="406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10" name="Image 9" descr="Une image contenant texte&#10;&#10;Description générée automatiquement">
            <a:extLst>
              <a:ext uri="{FF2B5EF4-FFF2-40B4-BE49-F238E27FC236}">
                <a16:creationId xmlns:a16="http://schemas.microsoft.com/office/drawing/2014/main" id="{9CBEF5CF-6A34-4289-9DDE-98F7B289D6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8053" y="6328800"/>
            <a:ext cx="315894" cy="27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3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2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fr-FR" sz="135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5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8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8" y="686478"/>
            <a:ext cx="5737121" cy="1500187"/>
          </a:xfrm>
        </p:spPr>
        <p:txBody>
          <a:bodyPr anchor="t" anchorCtr="0"/>
          <a:lstStyle>
            <a:lvl1pPr marL="0" indent="0">
              <a:buNone/>
              <a:defRPr sz="3750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622177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30" y="125671"/>
            <a:ext cx="414025" cy="27318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5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111972" y="125671"/>
            <a:ext cx="9825097" cy="27318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515114"/>
            <a:ext cx="121920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63"/>
            <a:r>
              <a:rPr lang="fr-FR"/>
              <a:t> 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44620" y="6515115"/>
            <a:ext cx="847417" cy="33866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456863"/>
            <a:fld id="{E0E48C36-60D3-5A43-AA48-41867AFDBEE6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6863"/>
              <a:t>‹N°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867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0"/>
            <a:ext cx="7806267" cy="1079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14E371-109A-4684-AD73-5B98C1F60EC4}" type="datetime1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5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8"/>
            <a:ext cx="4642805" cy="1362075"/>
          </a:xfrm>
        </p:spPr>
        <p:txBody>
          <a:bodyPr anchor="t">
            <a:normAutofit/>
          </a:bodyPr>
          <a:lstStyle>
            <a:lvl1pPr algn="l">
              <a:defRPr sz="2500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5" y="686477"/>
            <a:ext cx="5737121" cy="1500187"/>
          </a:xfrm>
        </p:spPr>
        <p:txBody>
          <a:bodyPr anchor="t" anchorCtr="0"/>
          <a:lstStyle>
            <a:lvl1pPr marL="0" indent="0">
              <a:buNone/>
              <a:defRPr sz="5000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136909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,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/>
          <p:cNvCxnSpPr/>
          <p:nvPr userDrawn="1"/>
        </p:nvCxnSpPr>
        <p:spPr>
          <a:xfrm>
            <a:off x="963631" y="185896"/>
            <a:ext cx="0" cy="190800"/>
          </a:xfrm>
          <a:prstGeom prst="line">
            <a:avLst/>
          </a:prstGeom>
          <a:ln w="25400">
            <a:solidFill>
              <a:srgbClr val="EE76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854" y="6444082"/>
            <a:ext cx="1131157" cy="205081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50740" y="806604"/>
            <a:ext cx="10277628" cy="396775"/>
          </a:xfrm>
        </p:spPr>
        <p:txBody>
          <a:bodyPr lIns="0" tIns="0" rIns="0" bIns="0">
            <a:noAutofit/>
          </a:bodyPr>
          <a:lstStyle>
            <a:lvl1pPr>
              <a:defRPr sz="2000" b="0" i="0">
                <a:solidFill>
                  <a:srgbClr val="70706F"/>
                </a:solidFill>
                <a:latin typeface="Source Sans Pro" panose="020B0503030403020204" pitchFamily="34" charset="0"/>
                <a:cs typeface="Sakkal Majalla" panose="02000000000000000000" pitchFamily="2" charset="-78"/>
              </a:defRPr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21868"/>
            <a:ext cx="12192000" cy="227295"/>
          </a:xfrm>
          <a:prstGeom prst="rect">
            <a:avLst/>
          </a:prstGeo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7" name="Espace réservé du contenu 15"/>
          <p:cNvSpPr>
            <a:spLocks noGrp="1"/>
          </p:cNvSpPr>
          <p:nvPr>
            <p:ph sz="quarter" idx="14" hasCustomPrompt="1"/>
          </p:nvPr>
        </p:nvSpPr>
        <p:spPr>
          <a:xfrm>
            <a:off x="1198462" y="188913"/>
            <a:ext cx="7784784" cy="179388"/>
          </a:xfrm>
          <a:prstGeom prst="rect">
            <a:avLst/>
          </a:prstGeom>
        </p:spPr>
        <p:txBody>
          <a:bodyPr lIns="0" tIns="0" rIns="190800" bIns="0" anchor="ctr">
            <a:noAutofit/>
          </a:bodyPr>
          <a:lstStyle>
            <a:lvl1pPr marL="0" indent="0">
              <a:buNone/>
              <a:defRPr sz="1000" b="0" i="0">
                <a:solidFill>
                  <a:srgbClr val="878787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pPr lvl="0"/>
            <a:r>
              <a:rPr lang="fr-FR"/>
              <a:t>NOM DE MISSION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" y="188913"/>
            <a:ext cx="839659" cy="179388"/>
          </a:xfrm>
          <a:prstGeom prst="rect">
            <a:avLst/>
          </a:prstGeom>
        </p:spPr>
        <p:txBody>
          <a:bodyPr anchor="ctr" anchorCtr="0"/>
          <a:lstStyle>
            <a:lvl1pPr marL="0" algn="r" defTabSz="914400" rtl="0" eaLnBrk="1" latinLnBrk="0" hangingPunct="1">
              <a:defRPr lang="uk-UA" sz="1000" b="0" i="0" kern="1200" smtClean="0">
                <a:solidFill>
                  <a:srgbClr val="878787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fld id="{DFEC2D02-5028-F248-8B6B-05173442C51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950741" y="1592645"/>
            <a:ext cx="10285829" cy="4507566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>
              <a:buNone/>
              <a:defRPr sz="16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marL="457211" indent="0">
              <a:buNone/>
              <a:defRPr sz="14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2pPr>
            <a:lvl3pPr marL="914422" indent="0">
              <a:buNone/>
              <a:defRPr sz="12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3pPr>
            <a:lvl4pPr marL="1371634" indent="0">
              <a:buNone/>
              <a:defRPr sz="105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4pPr>
            <a:lvl5pPr>
              <a:defRPr sz="14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039595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pos="489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pos="5751">
          <p15:clr>
            <a:srgbClr val="FBAE40"/>
          </p15:clr>
        </p15:guide>
        <p15:guide id="5" pos="3120">
          <p15:clr>
            <a:srgbClr val="A4A3A4"/>
          </p15:clr>
        </p15:guide>
        <p15:guide id="6" pos="4435">
          <p15:clr>
            <a:srgbClr val="A4A3A4"/>
          </p15:clr>
        </p15:guide>
        <p15:guide id="7" pos="1805">
          <p15:clr>
            <a:srgbClr val="A4A3A4"/>
          </p15:clr>
        </p15:guide>
        <p15:guide id="8" orient="horz" pos="2409">
          <p15:clr>
            <a:srgbClr val="A4A3A4"/>
          </p15:clr>
        </p15:guide>
        <p15:guide id="9" orient="horz" pos="4042">
          <p15:clr>
            <a:srgbClr val="A4A3A4"/>
          </p15:clr>
        </p15:guide>
        <p15:guide id="10" orient="horz" pos="640">
          <p15:clr>
            <a:srgbClr val="A4A3A4"/>
          </p15:clr>
        </p15:guide>
        <p15:guide id="11" orient="horz" pos="232">
          <p15:clr>
            <a:srgbClr val="A4A3A4"/>
          </p15:clr>
        </p15:guide>
        <p15:guide id="12" orient="horz" pos="11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bg>
      <p:bgPr>
        <a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12052" y="152345"/>
            <a:ext cx="1956189" cy="3254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13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fr-FR"/>
              <a:t>Chapitre 1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750023" y="1492820"/>
            <a:ext cx="10516839" cy="4525963"/>
          </a:xfrm>
          <a:prstGeom prst="rect">
            <a:avLst/>
          </a:prstGeom>
        </p:spPr>
        <p:txBody>
          <a:bodyPr/>
          <a:lstStyle>
            <a:lvl1pPr marL="457189" indent="-457189">
              <a:buSzPct val="120000"/>
              <a:buFontTx/>
              <a:buBlip>
                <a:blip r:embed="rId4"/>
              </a:buBlip>
              <a:defRPr sz="3467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  <a:lvl2pPr>
              <a:defRPr sz="2667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40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1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1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fr-FR"/>
              <a:t> Conten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423229" y="477749"/>
            <a:ext cx="4743207" cy="3637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lvl="0"/>
            <a:r>
              <a:rPr lang="fr-FR"/>
              <a:t>RAPPEL DU TITRE DU CHAPITRE</a:t>
            </a:r>
          </a:p>
        </p:txBody>
      </p:sp>
    </p:spTree>
    <p:extLst>
      <p:ext uri="{BB962C8B-B14F-4D97-AF65-F5344CB8AC3E}">
        <p14:creationId xmlns:p14="http://schemas.microsoft.com/office/powerpoint/2010/main" val="3781717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Chapitre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41005" y="1984431"/>
            <a:ext cx="5706732" cy="1722116"/>
          </a:xfrm>
          <a:prstGeom prst="rect">
            <a:avLst/>
          </a:prstGeom>
        </p:spPr>
        <p:txBody>
          <a:bodyPr tIns="0" bIns="0" anchor="t">
            <a:normAutofit/>
          </a:bodyPr>
          <a:lstStyle>
            <a:lvl1pPr algn="l">
              <a:lnSpc>
                <a:spcPts val="5040"/>
              </a:lnSpc>
              <a:defRPr sz="4533" b="0" cap="all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fr-FR"/>
              <a:t>PLACEZ LE TITRE </a:t>
            </a:r>
            <a:br>
              <a:rPr lang="fr-FR"/>
            </a:br>
            <a:r>
              <a:rPr lang="fr-FR"/>
              <a:t>DU CHAPITRE ICI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4477494" y="1369709"/>
            <a:ext cx="4251380" cy="533480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457189" indent="-457189" algn="l">
              <a:buSzPct val="120000"/>
              <a:buFontTx/>
              <a:buBlip>
                <a:blip r:embed="rId3"/>
              </a:buBlip>
              <a:defRPr sz="3467" baseline="0">
                <a:solidFill>
                  <a:srgbClr val="3198E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 Chapitre 1</a:t>
            </a:r>
          </a:p>
        </p:txBody>
      </p:sp>
    </p:spTree>
    <p:extLst>
      <p:ext uri="{BB962C8B-B14F-4D97-AF65-F5344CB8AC3E}">
        <p14:creationId xmlns:p14="http://schemas.microsoft.com/office/powerpoint/2010/main" val="38714318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ction">
    <p:bg>
      <p:bgPr>
        <a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43122" y="3042665"/>
            <a:ext cx="4413249" cy="604536"/>
          </a:xfrm>
          <a:prstGeom prst="rect">
            <a:avLst/>
          </a:prstGeom>
        </p:spPr>
        <p:txBody>
          <a:bodyPr vert="horz" lIns="0" bIns="0"/>
          <a:lstStyle>
            <a:lvl1pPr marL="457189" indent="-457189">
              <a:buSzPct val="120000"/>
              <a:buFontTx/>
              <a:buBlip>
                <a:blip r:embed="rId4"/>
              </a:buBlip>
              <a:defRPr sz="3467">
                <a:solidFill>
                  <a:srgbClr val="3198E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fr-FR"/>
              <a:t> Chapitre 1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5" hasCustomPrompt="1"/>
          </p:nvPr>
        </p:nvSpPr>
        <p:spPr>
          <a:xfrm>
            <a:off x="4224809" y="3694318"/>
            <a:ext cx="5601932" cy="1692613"/>
          </a:xfrm>
          <a:prstGeom prst="rect">
            <a:avLst/>
          </a:prstGeom>
        </p:spPr>
        <p:txBody>
          <a:bodyPr vert="horz" lIns="0" tIns="0" bIns="0"/>
          <a:lstStyle>
            <a:lvl1pPr marL="0" indent="0">
              <a:lnSpc>
                <a:spcPts val="5120"/>
              </a:lnSpc>
              <a:buFontTx/>
              <a:buNone/>
              <a:defRPr sz="4533" baseline="0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lvl="0"/>
            <a:r>
              <a:rPr lang="fr-FR"/>
              <a:t>PLACEZ LE TITRE DU CHAPITRE ICI</a:t>
            </a:r>
          </a:p>
        </p:txBody>
      </p:sp>
    </p:spTree>
    <p:extLst>
      <p:ext uri="{BB962C8B-B14F-4D97-AF65-F5344CB8AC3E}">
        <p14:creationId xmlns:p14="http://schemas.microsoft.com/office/powerpoint/2010/main" val="507562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07B-5577-429E-92D3-A53EE0EFAA1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5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4" y="2027278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166441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70" y="5722449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2"/>
            <a:ext cx="511536" cy="365125"/>
          </a:xfrm>
        </p:spPr>
        <p:txBody>
          <a:bodyPr/>
          <a:lstStyle>
            <a:lvl1pPr algn="ctr"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51404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t's o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1199457" y="1700809"/>
            <a:ext cx="4704523" cy="1536171"/>
          </a:xfrm>
          <a:prstGeom prst="rect">
            <a:avLst/>
          </a:prstGeom>
        </p:spPr>
        <p:txBody>
          <a:bodyPr>
            <a:normAutofit/>
          </a:bodyPr>
          <a:lstStyle>
            <a:lvl1pPr marL="380972" marR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lvl="0"/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/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/>
          </a:p>
          <a:p>
            <a:pPr lvl="0"/>
            <a:endParaRPr lang="fr-FR"/>
          </a:p>
        </p:txBody>
      </p:sp>
      <p:sp>
        <p:nvSpPr>
          <p:cNvPr id="12" name="Espace réservé du texte 8"/>
          <p:cNvSpPr>
            <a:spLocks noGrp="1"/>
          </p:cNvSpPr>
          <p:nvPr>
            <p:ph type="body" sz="quarter" idx="14" hasCustomPrompt="1"/>
          </p:nvPr>
        </p:nvSpPr>
        <p:spPr>
          <a:xfrm>
            <a:off x="6288021" y="1700809"/>
            <a:ext cx="4704523" cy="1536171"/>
          </a:xfrm>
          <a:prstGeom prst="rect">
            <a:avLst/>
          </a:prstGeom>
        </p:spPr>
        <p:txBody>
          <a:bodyPr>
            <a:normAutofit/>
          </a:bodyPr>
          <a:lstStyle>
            <a:lvl1pPr marL="380972" marR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lvl="0"/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r-FR"/>
          </a:p>
          <a:p>
            <a:pPr lvl="0"/>
            <a:endParaRPr lang="fr-FR"/>
          </a:p>
        </p:txBody>
      </p:sp>
      <p:sp>
        <p:nvSpPr>
          <p:cNvPr id="14" name="Espace réservé du texte 8"/>
          <p:cNvSpPr>
            <a:spLocks noGrp="1"/>
          </p:cNvSpPr>
          <p:nvPr>
            <p:ph type="body" sz="quarter" idx="16" hasCustomPrompt="1"/>
          </p:nvPr>
        </p:nvSpPr>
        <p:spPr>
          <a:xfrm>
            <a:off x="1199457" y="3708400"/>
            <a:ext cx="4704523" cy="201506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33" b="1"/>
            </a:lvl1pPr>
          </a:lstStyle>
          <a:p>
            <a:pPr lvl="0"/>
            <a:r>
              <a:rPr lang="fr-FR"/>
              <a:t>GT CRA : Texte</a:t>
            </a:r>
          </a:p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GT CSTA : Texte</a:t>
            </a:r>
          </a:p>
        </p:txBody>
      </p:sp>
      <p:sp>
        <p:nvSpPr>
          <p:cNvPr id="10" name="Espace réservé du texte 8"/>
          <p:cNvSpPr>
            <a:spLocks noGrp="1"/>
          </p:cNvSpPr>
          <p:nvPr>
            <p:ph type="body" sz="quarter" idx="17" hasCustomPrompt="1"/>
          </p:nvPr>
        </p:nvSpPr>
        <p:spPr>
          <a:xfrm>
            <a:off x="6288021" y="3909053"/>
            <a:ext cx="4704523" cy="1536171"/>
          </a:xfrm>
          <a:prstGeom prst="rect">
            <a:avLst/>
          </a:prstGeom>
        </p:spPr>
        <p:txBody>
          <a:bodyPr>
            <a:normAutofit/>
          </a:bodyPr>
          <a:lstStyle>
            <a:lvl1pPr marL="380972" marR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</a:lstStyle>
          <a:p>
            <a:pPr lvl="0"/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marL="380972" marR="0" lvl="0" indent="-380972" algn="l" defTabSz="121911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8" hasCustomPrompt="1"/>
          </p:nvPr>
        </p:nvSpPr>
        <p:spPr>
          <a:xfrm>
            <a:off x="2447598" y="6117300"/>
            <a:ext cx="2688167" cy="480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/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sz="quarter" idx="19" hasCustomPrompt="1"/>
          </p:nvPr>
        </p:nvSpPr>
        <p:spPr>
          <a:xfrm>
            <a:off x="5327916" y="6117300"/>
            <a:ext cx="2784309" cy="480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/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21" hasCustomPrompt="1"/>
          </p:nvPr>
        </p:nvSpPr>
        <p:spPr>
          <a:xfrm>
            <a:off x="8208238" y="6117300"/>
            <a:ext cx="2688167" cy="4800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 b="1"/>
            </a:lvl1pPr>
          </a:lstStyle>
          <a:p>
            <a:pPr lvl="0"/>
            <a:r>
              <a:rPr lang="fr-FR"/>
              <a:t>Texte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9048A40B-3602-4F27-B42A-48D30B151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72436" y="314433"/>
            <a:ext cx="9913237" cy="8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8657815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3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/>
            <a:endParaRPr lang="fr-FR" sz="1351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6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9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9" y="686479"/>
            <a:ext cx="5737121" cy="1500187"/>
          </a:xfrm>
        </p:spPr>
        <p:txBody>
          <a:bodyPr anchor="t" anchorCtr="0"/>
          <a:lstStyle>
            <a:lvl1pPr marL="0" indent="0">
              <a:buNone/>
              <a:defRPr sz="3751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891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257327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re 21"/>
          <p:cNvSpPr>
            <a:spLocks noGrp="1"/>
          </p:cNvSpPr>
          <p:nvPr>
            <p:ph type="title"/>
          </p:nvPr>
        </p:nvSpPr>
        <p:spPr>
          <a:xfrm>
            <a:off x="2" y="-2206"/>
            <a:ext cx="12173105" cy="618895"/>
          </a:xfrm>
        </p:spPr>
        <p:txBody>
          <a:bodyPr/>
          <a:lstStyle>
            <a:lvl1pPr algn="r">
              <a:defRPr lang="fr-FR" sz="2400" kern="1200" cap="small" baseline="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91" indent="-342891">
              <a:buClr>
                <a:schemeClr val="accent5"/>
              </a:buClr>
              <a:defRPr lang="fr-FR" sz="2200" b="1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charset="0"/>
              </a:defRPr>
            </a:lvl1pPr>
            <a:lvl2pPr>
              <a:buClr>
                <a:srgbClr val="FF0000"/>
              </a:buClr>
              <a:defRPr lang="fr-FR" sz="18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2pPr>
            <a:lvl3pPr>
              <a:buClr>
                <a:schemeClr val="tx2"/>
              </a:buClr>
              <a:buFont typeface="Wingdings" pitchFamily="2" charset="2"/>
              <a:buChar char="ü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>
              <a:buClr>
                <a:srgbClr val="00B0F0"/>
              </a:buClr>
              <a:buSzPct val="80000"/>
              <a:defRPr lang="fr-FR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4pPr>
            <a:lvl5pPr>
              <a:buClr>
                <a:srgbClr val="00B0F0"/>
              </a:buClr>
              <a:defRPr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8741" y="893763"/>
            <a:ext cx="9441563" cy="488471"/>
          </a:xfrm>
        </p:spPr>
        <p:txBody>
          <a:bodyPr/>
          <a:lstStyle>
            <a:lvl1pPr>
              <a:buNone/>
              <a:defRPr sz="24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851058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32" y="125671"/>
            <a:ext cx="414025" cy="27318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5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111973" y="125671"/>
            <a:ext cx="9825097" cy="27318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515115"/>
            <a:ext cx="121920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51"/>
            <a:r>
              <a:rPr lang="fr-FR"/>
              <a:t> 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44621" y="6515115"/>
            <a:ext cx="847417" cy="33866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456851"/>
            <a:fld id="{E0E48C36-60D3-5A43-AA48-41867AFDBEE6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6851"/>
              <a:t>‹N°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683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146547" y="2024160"/>
            <a:ext cx="4847852" cy="40556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023561"/>
            <a:ext cx="5384800" cy="4056298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FEDF8-A3B1-4364-8CCB-9413CE3267D9}" type="datetime1">
              <a:rPr lang="fr-FR" smtClean="0"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3" y="5722341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299201"/>
            <a:ext cx="511536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68380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,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/>
          <p:cNvCxnSpPr/>
          <p:nvPr userDrawn="1"/>
        </p:nvCxnSpPr>
        <p:spPr>
          <a:xfrm>
            <a:off x="963631" y="185896"/>
            <a:ext cx="0" cy="190800"/>
          </a:xfrm>
          <a:prstGeom prst="line">
            <a:avLst/>
          </a:prstGeom>
          <a:ln w="25400">
            <a:solidFill>
              <a:srgbClr val="EE76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855" y="6444084"/>
            <a:ext cx="1131157" cy="205081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50741" y="806606"/>
            <a:ext cx="10277628" cy="396775"/>
          </a:xfrm>
        </p:spPr>
        <p:txBody>
          <a:bodyPr lIns="0" tIns="0" rIns="0" bIns="0">
            <a:noAutofit/>
          </a:bodyPr>
          <a:lstStyle>
            <a:lvl1pPr>
              <a:defRPr sz="2000" b="0" i="0">
                <a:solidFill>
                  <a:srgbClr val="70706F"/>
                </a:solidFill>
                <a:latin typeface="Source Sans Pro" panose="020B0503030403020204" pitchFamily="34" charset="0"/>
                <a:cs typeface="Sakkal Majalla" panose="02000000000000000000" pitchFamily="2" charset="-78"/>
              </a:defRPr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21870"/>
            <a:ext cx="12192000" cy="227295"/>
          </a:xfrm>
          <a:prstGeom prst="rect">
            <a:avLst/>
          </a:prstGeo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7" name="Espace réservé du contenu 15"/>
          <p:cNvSpPr>
            <a:spLocks noGrp="1"/>
          </p:cNvSpPr>
          <p:nvPr>
            <p:ph sz="quarter" idx="14" hasCustomPrompt="1"/>
          </p:nvPr>
        </p:nvSpPr>
        <p:spPr>
          <a:xfrm>
            <a:off x="1198463" y="188914"/>
            <a:ext cx="7784784" cy="179388"/>
          </a:xfrm>
          <a:prstGeom prst="rect">
            <a:avLst/>
          </a:prstGeom>
        </p:spPr>
        <p:txBody>
          <a:bodyPr lIns="0" tIns="0" rIns="190800" bIns="0" anchor="ctr">
            <a:noAutofit/>
          </a:bodyPr>
          <a:lstStyle>
            <a:lvl1pPr marL="0" indent="0">
              <a:buNone/>
              <a:defRPr sz="1000" b="0" i="0">
                <a:solidFill>
                  <a:srgbClr val="878787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pPr lvl="0"/>
            <a:r>
              <a:rPr lang="fr-FR"/>
              <a:t>NOM DE MISSION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188914"/>
            <a:ext cx="839659" cy="179388"/>
          </a:xfrm>
          <a:prstGeom prst="rect">
            <a:avLst/>
          </a:prstGeom>
        </p:spPr>
        <p:txBody>
          <a:bodyPr anchor="ctr" anchorCtr="0"/>
          <a:lstStyle>
            <a:lvl1pPr marL="0" algn="r" defTabSz="914377" rtl="0" eaLnBrk="1" latinLnBrk="0" hangingPunct="1">
              <a:defRPr lang="uk-UA" sz="1000" b="0" i="0" kern="1200" smtClean="0">
                <a:solidFill>
                  <a:srgbClr val="878787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fld id="{DFEC2D02-5028-F248-8B6B-05173442C51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950742" y="1592646"/>
            <a:ext cx="10285829" cy="450756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>
              <a:buNone/>
              <a:defRPr sz="16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marL="457199" indent="0">
              <a:buNone/>
              <a:defRPr sz="14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2pPr>
            <a:lvl3pPr marL="914400" indent="0">
              <a:buNone/>
              <a:defRPr sz="12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3pPr>
            <a:lvl4pPr marL="1371600" indent="0">
              <a:buNone/>
              <a:defRPr sz="1051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4pPr>
            <a:lvl5pPr>
              <a:defRPr sz="14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44285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pos="489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pos="5751">
          <p15:clr>
            <a:srgbClr val="FBAE40"/>
          </p15:clr>
        </p15:guide>
        <p15:guide id="5" pos="3120">
          <p15:clr>
            <a:srgbClr val="A4A3A4"/>
          </p15:clr>
        </p15:guide>
        <p15:guide id="6" pos="4435">
          <p15:clr>
            <a:srgbClr val="A4A3A4"/>
          </p15:clr>
        </p15:guide>
        <p15:guide id="7" pos="1805">
          <p15:clr>
            <a:srgbClr val="A4A3A4"/>
          </p15:clr>
        </p15:guide>
        <p15:guide id="8" orient="horz" pos="2409">
          <p15:clr>
            <a:srgbClr val="A4A3A4"/>
          </p15:clr>
        </p15:guide>
        <p15:guide id="9" orient="horz" pos="4042">
          <p15:clr>
            <a:srgbClr val="A4A3A4"/>
          </p15:clr>
        </p15:guide>
        <p15:guide id="10" orient="horz" pos="640">
          <p15:clr>
            <a:srgbClr val="A4A3A4"/>
          </p15:clr>
        </p15:guide>
        <p15:guide id="11" orient="horz" pos="232">
          <p15:clr>
            <a:srgbClr val="A4A3A4"/>
          </p15:clr>
        </p15:guide>
        <p15:guide id="12" orient="horz" pos="11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bg>
      <p:bgPr>
        <a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12052" y="152346"/>
            <a:ext cx="1956189" cy="3254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13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fr-FR"/>
              <a:t>Chapitre 1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750025" y="1492821"/>
            <a:ext cx="10516839" cy="4525963"/>
          </a:xfrm>
          <a:prstGeom prst="rect">
            <a:avLst/>
          </a:prstGeom>
        </p:spPr>
        <p:txBody>
          <a:bodyPr/>
          <a:lstStyle>
            <a:lvl1pPr marL="457178" indent="-457178">
              <a:buSzPct val="120000"/>
              <a:buFontTx/>
              <a:buBlip>
                <a:blip r:embed="rId4"/>
              </a:buBlip>
              <a:defRPr sz="3467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  <a:lvl2pPr>
              <a:defRPr sz="2667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40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1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1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fr-FR"/>
              <a:t> Conten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423230" y="477750"/>
            <a:ext cx="4743207" cy="3637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lvl="0"/>
            <a:r>
              <a:rPr lang="fr-FR"/>
              <a:t>RAPPEL DU TITRE DU CHAPITRE</a:t>
            </a:r>
          </a:p>
        </p:txBody>
      </p:sp>
    </p:spTree>
    <p:extLst>
      <p:ext uri="{BB962C8B-B14F-4D97-AF65-F5344CB8AC3E}">
        <p14:creationId xmlns:p14="http://schemas.microsoft.com/office/powerpoint/2010/main" val="16195411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Chapitre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41006" y="1984431"/>
            <a:ext cx="5706732" cy="1722116"/>
          </a:xfrm>
          <a:prstGeom prst="rect">
            <a:avLst/>
          </a:prstGeom>
        </p:spPr>
        <p:txBody>
          <a:bodyPr tIns="0" bIns="0" anchor="t">
            <a:normAutofit/>
          </a:bodyPr>
          <a:lstStyle>
            <a:lvl1pPr algn="l">
              <a:lnSpc>
                <a:spcPts val="5040"/>
              </a:lnSpc>
              <a:defRPr sz="4533" b="0" cap="all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fr-FR"/>
              <a:t>PLACEZ LE TITRE </a:t>
            </a:r>
            <a:br>
              <a:rPr lang="fr-FR"/>
            </a:br>
            <a:r>
              <a:rPr lang="fr-FR"/>
              <a:t>DU CHAPITRE ICI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4477495" y="1369709"/>
            <a:ext cx="4251380" cy="533480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457178" indent="-457178" algn="l">
              <a:buSzPct val="120000"/>
              <a:buFontTx/>
              <a:buBlip>
                <a:blip r:embed="rId3"/>
              </a:buBlip>
              <a:defRPr sz="3467" baseline="0">
                <a:solidFill>
                  <a:srgbClr val="3198E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 Chapitre 1</a:t>
            </a:r>
          </a:p>
        </p:txBody>
      </p:sp>
    </p:spTree>
    <p:extLst>
      <p:ext uri="{BB962C8B-B14F-4D97-AF65-F5344CB8AC3E}">
        <p14:creationId xmlns:p14="http://schemas.microsoft.com/office/powerpoint/2010/main" val="8219786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ction">
    <p:bg>
      <p:bgPr>
        <a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43124" y="3042665"/>
            <a:ext cx="4413249" cy="604536"/>
          </a:xfrm>
          <a:prstGeom prst="rect">
            <a:avLst/>
          </a:prstGeom>
        </p:spPr>
        <p:txBody>
          <a:bodyPr vert="horz" lIns="0" bIns="0"/>
          <a:lstStyle>
            <a:lvl1pPr marL="457178" indent="-457178">
              <a:buSzPct val="120000"/>
              <a:buFontTx/>
              <a:buBlip>
                <a:blip r:embed="rId4"/>
              </a:buBlip>
              <a:defRPr sz="3467">
                <a:solidFill>
                  <a:srgbClr val="3198E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fr-FR"/>
              <a:t> Chapitre 1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5" hasCustomPrompt="1"/>
          </p:nvPr>
        </p:nvSpPr>
        <p:spPr>
          <a:xfrm>
            <a:off x="4224810" y="3694319"/>
            <a:ext cx="5601932" cy="1692613"/>
          </a:xfrm>
          <a:prstGeom prst="rect">
            <a:avLst/>
          </a:prstGeom>
        </p:spPr>
        <p:txBody>
          <a:bodyPr vert="horz" lIns="0" tIns="0" bIns="0"/>
          <a:lstStyle>
            <a:lvl1pPr marL="0" indent="0">
              <a:lnSpc>
                <a:spcPts val="5120"/>
              </a:lnSpc>
              <a:buFontTx/>
              <a:buNone/>
              <a:defRPr sz="4533" baseline="0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lvl="0"/>
            <a:r>
              <a:rPr lang="fr-FR"/>
              <a:t>PLACEZ LE TITRE DU CHAPITRE ICI</a:t>
            </a:r>
          </a:p>
        </p:txBody>
      </p:sp>
    </p:spTree>
    <p:extLst>
      <p:ext uri="{BB962C8B-B14F-4D97-AF65-F5344CB8AC3E}">
        <p14:creationId xmlns:p14="http://schemas.microsoft.com/office/powerpoint/2010/main" val="19110931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30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438" y="1833938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398224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3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/>
            <a:endParaRPr lang="fr-FR" sz="1351">
              <a:solidFill>
                <a:prstClr val="white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6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9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9" y="686479"/>
            <a:ext cx="5737121" cy="1500187"/>
          </a:xfrm>
        </p:spPr>
        <p:txBody>
          <a:bodyPr anchor="t" anchorCtr="0"/>
          <a:lstStyle>
            <a:lvl1pPr marL="0" indent="0">
              <a:buNone/>
              <a:defRPr sz="3751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891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235880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428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59896" y="133140"/>
            <a:ext cx="9913237" cy="888445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83" y="2017545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C82931-CAD4-E447-AAF3-809212EAA18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45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615" y="2017713"/>
            <a:ext cx="1993900" cy="2652712"/>
          </a:xfrm>
        </p:spPr>
        <p:txBody>
          <a:bodyPr/>
          <a:lstStyle>
            <a:lvl1pPr>
              <a:buNone/>
              <a:defRPr sz="21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333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40430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45" y="2027287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844213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6863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456863"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63"/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/>
          <a:lstStyle/>
          <a:p>
            <a:pPr defTabSz="456863"/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456863"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61814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146547" y="2024163"/>
            <a:ext cx="4847852" cy="40556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2023561"/>
            <a:ext cx="5384800" cy="4056299"/>
          </a:xfrm>
        </p:spPr>
        <p:txBody>
          <a:bodyPr/>
          <a:lstStyle>
            <a:lvl1pPr>
              <a:defRPr sz="22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42A118-58E0-B745-889D-15467ED74067}" type="datetime1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pic>
        <p:nvPicPr>
          <p:cNvPr id="9" name="Image 8" descr="A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5"/>
            <a:ext cx="1578709" cy="1160161"/>
          </a:xfrm>
          <a:prstGeom prst="rect">
            <a:avLst/>
          </a:prstGeom>
        </p:spPr>
      </p:pic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10733463" y="6356354"/>
            <a:ext cx="511536" cy="365125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66330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FA751-FD46-481B-A680-D311487CDD8A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5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4" y="2027278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20697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re 21"/>
          <p:cNvSpPr>
            <a:spLocks noGrp="1"/>
          </p:cNvSpPr>
          <p:nvPr>
            <p:ph type="title"/>
          </p:nvPr>
        </p:nvSpPr>
        <p:spPr>
          <a:xfrm>
            <a:off x="2" y="-2206"/>
            <a:ext cx="12173105" cy="618895"/>
          </a:xfrm>
        </p:spPr>
        <p:txBody>
          <a:bodyPr/>
          <a:lstStyle>
            <a:lvl1pPr algn="r">
              <a:defRPr lang="fr-FR" sz="2400" kern="1200" cap="small" baseline="0" dirty="0" smtClean="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27" name="Espace réservé du contenu 26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891" indent="-342891">
              <a:buClr>
                <a:schemeClr val="accent5"/>
              </a:buClr>
              <a:defRPr lang="fr-FR" sz="2200" b="1" kern="12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1pPr>
            <a:lvl2pPr>
              <a:buClr>
                <a:srgbClr val="FF0000"/>
              </a:buClr>
              <a:defRPr lang="fr-FR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chemeClr val="tx2"/>
              </a:buClr>
              <a:buFont typeface="Wingdings" pitchFamily="2" charset="2"/>
              <a:buChar char="ü"/>
              <a:defRPr>
                <a:solidFill>
                  <a:schemeClr val="tx1"/>
                </a:solidFill>
                <a:latin typeface="Calibri" pitchFamily="34" charset="0"/>
              </a:defRPr>
            </a:lvl3pPr>
            <a:lvl4pPr>
              <a:buClr>
                <a:srgbClr val="00B0F0"/>
              </a:buClr>
              <a:buSzPct val="80000"/>
              <a:defRPr lang="fr-FR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buClr>
                <a:srgbClr val="00B0F0"/>
              </a:buClr>
              <a:defRPr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3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368741" y="893763"/>
            <a:ext cx="9441563" cy="488471"/>
          </a:xfrm>
        </p:spPr>
        <p:txBody>
          <a:bodyPr/>
          <a:lstStyle>
            <a:lvl1pPr>
              <a:buNone/>
              <a:defRPr sz="24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932023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7AAFA-7A7E-6C48-8C4D-1868FF79C82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40316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6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35" y="2027279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454233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34133" y="6293226"/>
            <a:ext cx="745067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9940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CAAEC83-418A-4902-B25B-090DB7621716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59546537-5C5F-4194-B62A-D8879F62AC1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9560315-C078-42C9-B2BC-CA81E084DAFD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0C52278-5CC6-48F5-88D9-C23BF6017258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46818E6-20A3-45CE-A22A-E54C9B43D69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34134" y="6293221"/>
            <a:ext cx="745071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403B8808-1F58-47F6-99E8-BFD0AD2E6645}" type="slidenum"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4929223"/>
      </p:ext>
    </p:extLst>
  </p:cSld>
  <p:clrMapOvr>
    <a:masterClrMapping/>
  </p:clrMapOvr>
  <p:hf sldNum="0"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8FA4F39-2466-4544-914E-88F0195407A5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et modifiez le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579055D-0D9E-4645-B27C-0EC69CD39680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C7EF9B4-E711-48C1-8185-A7C9726B5003}" type="datetime1">
              <a:rPr lang="fr-FR"/>
              <a:pPr lvl="0"/>
              <a:t>21/0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BC17A10-01C2-4CD3-A05D-8137B1DCA3EE}"/>
              </a:ext>
            </a:extLst>
          </p:cNvPr>
          <p:cNvSpPr txBox="1">
            <a:spLocks noGrp="1"/>
          </p:cNvSpPr>
          <p:nvPr>
            <p:ph type="ftr" sz="quarter" idx="9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BD1CBCD-7312-46A1-BBE4-09BB7461842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10659536" y="6293221"/>
            <a:ext cx="660397" cy="36512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fld id="{2282AAD0-3051-465A-BAA0-C44D326C3486}" type="slidenum">
              <a:t>‹N°›</a:t>
            </a:fld>
            <a:endParaRPr lang="fr-FR"/>
          </a:p>
        </p:txBody>
      </p:sp>
      <p:sp>
        <p:nvSpPr>
          <p:cNvPr id="6" name="Espace réservé du contenu 6">
            <a:extLst>
              <a:ext uri="{FF2B5EF4-FFF2-40B4-BE49-F238E27FC236}">
                <a16:creationId xmlns:a16="http://schemas.microsoft.com/office/drawing/2014/main" id="{C563D407-559F-429A-8382-924398CFBC0A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1147233" y="2027280"/>
            <a:ext cx="9912352" cy="397986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323048674"/>
      </p:ext>
    </p:extLst>
  </p:cSld>
  <p:clrMapOvr>
    <a:masterClrMapping/>
  </p:clrMapOvr>
  <p:hf sldNum="0"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34133" y="6293224"/>
            <a:ext cx="745067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688213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29061" y="2004740"/>
            <a:ext cx="3680608" cy="1990661"/>
          </a:xfrm>
        </p:spPr>
        <p:txBody>
          <a:bodyPr tIns="0" rIns="0" bIns="0" anchor="t" anchorCtr="0">
            <a:noAutofit/>
          </a:bodyPr>
          <a:lstStyle>
            <a:lvl1pPr algn="l">
              <a:defRPr sz="3867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55534" y="1571411"/>
            <a:ext cx="10127740" cy="433332"/>
          </a:xfrm>
        </p:spPr>
        <p:txBody>
          <a:bodyPr tIns="0" rIns="0" bIns="0" anchor="t" anchorCtr="0">
            <a:noAutofit/>
          </a:bodyPr>
          <a:lstStyle>
            <a:lvl1pPr marL="0" indent="0" algn="l">
              <a:buNone/>
              <a:defRPr sz="2533" b="1" i="0">
                <a:solidFill>
                  <a:srgbClr val="FFFFFF"/>
                </a:solidFill>
                <a:latin typeface="Arial"/>
                <a:cs typeface="Arial"/>
              </a:defRPr>
            </a:lvl1pPr>
            <a:lvl2pPr marL="608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2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F60C6253-5962-4F60-942B-3684667D0C68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 descr="LOGO_PFA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085" y="5429857"/>
            <a:ext cx="3099515" cy="59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4186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7"/>
            <a:ext cx="4642805" cy="1362075"/>
          </a:xfrm>
        </p:spPr>
        <p:txBody>
          <a:bodyPr anchor="t">
            <a:normAutofit/>
          </a:bodyPr>
          <a:lstStyle>
            <a:lvl1pPr algn="l">
              <a:defRPr sz="3333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195657" y="686477"/>
            <a:ext cx="5737121" cy="1500187"/>
          </a:xfrm>
        </p:spPr>
        <p:txBody>
          <a:bodyPr anchor="t" anchorCtr="0"/>
          <a:lstStyle>
            <a:lvl1pPr marL="0" indent="0">
              <a:buNone/>
              <a:defRPr sz="2133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586868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907486" y="98663"/>
            <a:ext cx="4642805" cy="1362075"/>
          </a:xfrm>
        </p:spPr>
        <p:txBody>
          <a:bodyPr anchor="t">
            <a:normAutofit/>
          </a:bodyPr>
          <a:lstStyle>
            <a:lvl1pPr algn="l">
              <a:defRPr sz="3333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845280" y="1745105"/>
            <a:ext cx="5737121" cy="1500187"/>
          </a:xfrm>
        </p:spPr>
        <p:txBody>
          <a:bodyPr anchor="t" anchorCtr="0"/>
          <a:lstStyle>
            <a:lvl1pPr marL="0" indent="0">
              <a:buNone/>
              <a:defRPr sz="2133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50066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664314-ED57-4EE8-8D06-DB21457967FA}" type="datetime1">
              <a:rPr lang="fr-FR" smtClean="0"/>
              <a:t>21/01/202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10574867" y="6293225"/>
            <a:ext cx="8382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83951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CB030BC2-5D2A-4816-97FE-033034F2BA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3896293C-7373-4898-B379-166B477F6510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53FEB1E-6EE2-4C31-AE3B-720A0DF55875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54BE249E-2A9C-4E55-A686-DC0984E042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794669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67" y="1604798"/>
            <a:ext cx="9912351" cy="429506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6E8F6D2D-A561-4661-A857-32E1F26140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2ED220C7-B0A8-4FC7-B4CC-FCDFFA0F6FC6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92CD2225-295B-45C2-A75B-1C2CC14C9A0E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17" name="Espace réservé du numéro de diapositive 5">
            <a:extLst>
              <a:ext uri="{FF2B5EF4-FFF2-40B4-BE49-F238E27FC236}">
                <a16:creationId xmlns:a16="http://schemas.microsoft.com/office/drawing/2014/main" id="{033A3DE4-DC09-4F61-B554-D702C435C5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30025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48" y="1920000"/>
            <a:ext cx="10462312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6807A08C-AE89-4A19-ABC8-D7886F5EB7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00AC3273-CEC5-4A18-A47B-227436174866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4C87E2CC-33A6-49F0-A870-E4F141F11953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9C7FD443-2DF2-413B-8744-C7F1D2559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75794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A.png">
            <a:extLst>
              <a:ext uri="{FF2B5EF4-FFF2-40B4-BE49-F238E27FC236}">
                <a16:creationId xmlns:a16="http://schemas.microsoft.com/office/drawing/2014/main" id="{86C91282-89B7-4EE8-A289-A0A9799A5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  <a:effectLst/>
        </p:spPr>
      </p:pic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F368AEBE-4185-4942-BBED-F65BABFF5313}"/>
              </a:ext>
            </a:extLst>
          </p:cNvPr>
          <p:cNvSpPr txBox="1">
            <a:spLocks/>
          </p:cNvSpPr>
          <p:nvPr userDrawn="1"/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E48C36-60D3-5A43-AA48-41867AFDBEE6}" type="slidenum">
              <a:rPr lang="fr-FR" sz="1467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sz="146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80A09B-B5B4-4B52-90B3-FE7803CD6468}"/>
              </a:ext>
            </a:extLst>
          </p:cNvPr>
          <p:cNvSpPr/>
          <p:nvPr userDrawn="1"/>
        </p:nvSpPr>
        <p:spPr>
          <a:xfrm>
            <a:off x="333669" y="4876801"/>
            <a:ext cx="11614048" cy="1939820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/>
            <a:endParaRPr lang="fr-FR" sz="1800">
              <a:solidFill>
                <a:srgbClr val="4973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DBF356-9D8F-4D5D-9DA1-067709B172AD}"/>
              </a:ext>
            </a:extLst>
          </p:cNvPr>
          <p:cNvSpPr/>
          <p:nvPr userDrawn="1"/>
        </p:nvSpPr>
        <p:spPr>
          <a:xfrm>
            <a:off x="333668" y="637689"/>
            <a:ext cx="11614047" cy="1615984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 algn="l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CA053D-E5B9-4352-A924-F87BCF1393C7}"/>
              </a:ext>
            </a:extLst>
          </p:cNvPr>
          <p:cNvSpPr/>
          <p:nvPr userDrawn="1"/>
        </p:nvSpPr>
        <p:spPr>
          <a:xfrm>
            <a:off x="6020662" y="2325795"/>
            <a:ext cx="5890980" cy="2422800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EC90094-4DA0-4631-A6FE-9ECA1AC67BB7}"/>
              </a:ext>
            </a:extLst>
          </p:cNvPr>
          <p:cNvSpPr txBox="1"/>
          <p:nvPr userDrawn="1"/>
        </p:nvSpPr>
        <p:spPr>
          <a:xfrm>
            <a:off x="6116554" y="2177759"/>
            <a:ext cx="21318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rgbClr val="1F497D"/>
                </a:solidFill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enjeux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B64A567-5A8E-407F-AD12-440EDB0B1FA4}"/>
              </a:ext>
            </a:extLst>
          </p:cNvPr>
          <p:cNvSpPr txBox="1"/>
          <p:nvPr userDrawn="1"/>
        </p:nvSpPr>
        <p:spPr>
          <a:xfrm>
            <a:off x="430926" y="4702084"/>
            <a:ext cx="115506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rous</a:t>
            </a:r>
            <a:endParaRPr lang="fr-FR" sz="1400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0A8055-9C3F-4049-80F0-4E8576CE9B79}"/>
              </a:ext>
            </a:extLst>
          </p:cNvPr>
          <p:cNvSpPr/>
          <p:nvPr userDrawn="1"/>
        </p:nvSpPr>
        <p:spPr>
          <a:xfrm>
            <a:off x="324431" y="2325796"/>
            <a:ext cx="5630176" cy="242128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44A19C8-DB12-4656-A58B-9395C8353F86}"/>
              </a:ext>
            </a:extLst>
          </p:cNvPr>
          <p:cNvSpPr txBox="1"/>
          <p:nvPr userDrawn="1"/>
        </p:nvSpPr>
        <p:spPr>
          <a:xfrm>
            <a:off x="4740546" y="467228"/>
            <a:ext cx="2551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fs et périmètr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9423235-3890-49FB-9DD1-05F6D1ED6333}"/>
              </a:ext>
            </a:extLst>
          </p:cNvPr>
          <p:cNvSpPr txBox="1"/>
          <p:nvPr userDrawn="1"/>
        </p:nvSpPr>
        <p:spPr>
          <a:xfrm>
            <a:off x="504815" y="2122340"/>
            <a:ext cx="14264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rgbClr val="1F497D"/>
                </a:solidFill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nts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6647E7-82D4-4C3F-B96C-5D5DCA89F0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" y="-12759"/>
            <a:ext cx="12192000" cy="338555"/>
          </a:xfrm>
          <a:prstGeom prst="rect">
            <a:avLst/>
          </a:prstGeom>
        </p:spPr>
        <p:txBody>
          <a:bodyPr/>
          <a:lstStyle>
            <a:lvl1pPr marL="0" marR="0" indent="0" algn="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ille de route [insérer nom GT]</a:t>
            </a:r>
            <a:endParaRPr lang="fr-FR"/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E9282A0-64CC-427A-B629-7D536940F2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826007"/>
            <a:ext cx="11523133" cy="1104900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Décrire ici :</a:t>
            </a:r>
          </a:p>
          <a:p>
            <a:pPr lvl="0"/>
            <a:r>
              <a:rPr lang="fr-FR"/>
              <a:t>Les objectifs des travaux du GT (ex : « évaluer la faisabilité, les risques et les enjeux de (…) pour la filière », « préparer des positions ou arguments », etc.) </a:t>
            </a:r>
          </a:p>
          <a:p>
            <a:pPr lvl="0"/>
            <a:r>
              <a:rPr lang="fr-FR"/>
              <a:t>Le périmètre des travaux du GT (périmètre technique et, si pertinent, temporel (au sens cycle de vie))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C6EFE7C-13B7-4A5E-84BC-306142EE4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86765" y="2482081"/>
            <a:ext cx="5761567" cy="2192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ontexte opérationnel filière automobile </a:t>
            </a:r>
          </a:p>
          <a:p>
            <a:pPr lvl="1"/>
            <a:r>
              <a:rPr lang="fr-FR"/>
              <a:t>Evolutions ou tendances technologiques. Parties prenantes et acteurs de la chaîne de valeur concernés (filière et hors filière) </a:t>
            </a:r>
          </a:p>
          <a:p>
            <a:pPr lvl="0"/>
            <a:r>
              <a:rPr lang="fr-FR"/>
              <a:t>Contexte réglementaire ou normatif </a:t>
            </a:r>
          </a:p>
          <a:p>
            <a:pPr lvl="1"/>
            <a:r>
              <a:rPr lang="fr-FR"/>
              <a:t>Objectifs des réglementations ou normes existantes ou en projet. Tendances dans le domaine et motivations </a:t>
            </a:r>
          </a:p>
          <a:p>
            <a:pPr lvl="1"/>
            <a:r>
              <a:rPr lang="fr-FR"/>
              <a:t>Contenu, dates ou période prochaines étapes réglementation ou normes</a:t>
            </a:r>
          </a:p>
          <a:p>
            <a:pPr lvl="0"/>
            <a:r>
              <a:rPr lang="fr-FR"/>
              <a:t>Enjeux </a:t>
            </a:r>
          </a:p>
          <a:p>
            <a:pPr marL="239994" lvl="1" indent="-2399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/>
              <a:t>Impacts potentiels des réglementations ou normes discutées pour les acteurs de la filière (positifs ou négatifs) et pour les autres parties prenantes. Les enjeux peuvent être qualitatifs (nature de l’enjeu : stratégique, économique, technique, besoin en ressources, etc.) et quantitatifs (combien et quand)</a:t>
            </a:r>
          </a:p>
        </p:txBody>
      </p:sp>
      <p:sp>
        <p:nvSpPr>
          <p:cNvPr id="28" name="Espace réservé du texte 23">
            <a:extLst>
              <a:ext uri="{FF2B5EF4-FFF2-40B4-BE49-F238E27FC236}">
                <a16:creationId xmlns:a16="http://schemas.microsoft.com/office/drawing/2014/main" id="{E94E7E5B-68E0-4824-9789-E00B0EBFA0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818" y="3285103"/>
            <a:ext cx="5456161" cy="1232827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0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</p:txBody>
      </p:sp>
      <p:sp>
        <p:nvSpPr>
          <p:cNvPr id="29" name="Espace réservé du texte 23">
            <a:extLst>
              <a:ext uri="{FF2B5EF4-FFF2-40B4-BE49-F238E27FC236}">
                <a16:creationId xmlns:a16="http://schemas.microsoft.com/office/drawing/2014/main" id="{01F32474-9E72-4FFC-8662-F27AAAAA0E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9345" y="3001667"/>
            <a:ext cx="5516028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EMBRES</a:t>
            </a:r>
          </a:p>
          <a:p>
            <a:pPr lvl="0"/>
            <a:endParaRPr lang="fr-FR"/>
          </a:p>
        </p:txBody>
      </p:sp>
      <p:sp>
        <p:nvSpPr>
          <p:cNvPr id="30" name="Espace réservé du texte 23">
            <a:extLst>
              <a:ext uri="{FF2B5EF4-FFF2-40B4-BE49-F238E27FC236}">
                <a16:creationId xmlns:a16="http://schemas.microsoft.com/office/drawing/2014/main" id="{44D94B10-C109-471D-A94F-CC5395B956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9347" y="2678845"/>
            <a:ext cx="5516027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</p:txBody>
      </p:sp>
      <p:sp>
        <p:nvSpPr>
          <p:cNvPr id="31" name="Espace réservé du texte 23">
            <a:extLst>
              <a:ext uri="{FF2B5EF4-FFF2-40B4-BE49-F238E27FC236}">
                <a16:creationId xmlns:a16="http://schemas.microsoft.com/office/drawing/2014/main" id="{E83BE619-BBC7-4218-8A01-538B427E1A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9345" y="2413881"/>
            <a:ext cx="5516028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PILOTES</a:t>
            </a:r>
          </a:p>
          <a:p>
            <a:pPr lvl="0"/>
            <a:endParaRPr lang="fr-FR"/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7F9902B0-6C24-422E-9CF8-865C921093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382" y="4919577"/>
            <a:ext cx="3552393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éta-Verrous</a:t>
            </a:r>
          </a:p>
        </p:txBody>
      </p:sp>
      <p:sp>
        <p:nvSpPr>
          <p:cNvPr id="39" name="Espace réservé du texte 10">
            <a:extLst>
              <a:ext uri="{FF2B5EF4-FFF2-40B4-BE49-F238E27FC236}">
                <a16:creationId xmlns:a16="http://schemas.microsoft.com/office/drawing/2014/main" id="{33B824A8-BBD1-46A4-A9FA-C91678CF55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27801" y="4940079"/>
            <a:ext cx="363811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Verrous</a:t>
            </a:r>
          </a:p>
        </p:txBody>
      </p:sp>
      <p:sp>
        <p:nvSpPr>
          <p:cNvPr id="40" name="Espace réservé du texte 10">
            <a:extLst>
              <a:ext uri="{FF2B5EF4-FFF2-40B4-BE49-F238E27FC236}">
                <a16:creationId xmlns:a16="http://schemas.microsoft.com/office/drawing/2014/main" id="{28E488C8-4C76-4DFE-8812-5458B57CDD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76755" y="4903134"/>
            <a:ext cx="4223339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Actions</a:t>
            </a:r>
          </a:p>
        </p:txBody>
      </p:sp>
      <p:sp>
        <p:nvSpPr>
          <p:cNvPr id="41" name="Espace réservé du texte 10">
            <a:extLst>
              <a:ext uri="{FF2B5EF4-FFF2-40B4-BE49-F238E27FC236}">
                <a16:creationId xmlns:a16="http://schemas.microsoft.com/office/drawing/2014/main" id="{90F182DE-4109-4DBF-85C3-17FD544C0D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745" y="4945528"/>
            <a:ext cx="3552393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ter ici les grands défis à relever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cas échéant, en fonction des cas d’usages prioritaires définis dans le cadre du Programme pour mettre en œuvre les cas d’usages dans le calendrier imparti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méta-verrous peuvent être formulés sous forme de question.</a:t>
            </a:r>
          </a:p>
        </p:txBody>
      </p:sp>
      <p:sp>
        <p:nvSpPr>
          <p:cNvPr id="42" name="Espace réservé du texte 10">
            <a:extLst>
              <a:ext uri="{FF2B5EF4-FFF2-40B4-BE49-F238E27FC236}">
                <a16:creationId xmlns:a16="http://schemas.microsoft.com/office/drawing/2014/main" id="{E59D914F-5B59-405C-A3B8-9CF965CA2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94055" y="4938322"/>
            <a:ext cx="3638116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cliner les méta-verrous/grands défis verrous techniques, sociétaux, normatifs, réglementaires, etc.</a:t>
            </a:r>
          </a:p>
          <a:p>
            <a:pPr lvl="0"/>
            <a:endParaRPr lang="fr-FR"/>
          </a:p>
        </p:txBody>
      </p:sp>
      <p:sp>
        <p:nvSpPr>
          <p:cNvPr id="43" name="Espace réservé du texte 10">
            <a:extLst>
              <a:ext uri="{FF2B5EF4-FFF2-40B4-BE49-F238E27FC236}">
                <a16:creationId xmlns:a16="http://schemas.microsoft.com/office/drawing/2014/main" id="{010F2A46-BB78-45CC-9AA0-884F2D36DD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2172" y="4938322"/>
            <a:ext cx="4223339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cliner les verrous en actions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1413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A.png">
            <a:extLst>
              <a:ext uri="{FF2B5EF4-FFF2-40B4-BE49-F238E27FC236}">
                <a16:creationId xmlns:a16="http://schemas.microsoft.com/office/drawing/2014/main" id="{614D6510-5A01-479A-950A-6C82982A30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  <a:effectLst/>
        </p:spPr>
      </p:pic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5688A4DD-2103-4448-996F-59D4E263A955}"/>
              </a:ext>
            </a:extLst>
          </p:cNvPr>
          <p:cNvSpPr txBox="1">
            <a:spLocks/>
          </p:cNvSpPr>
          <p:nvPr userDrawn="1"/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E48C36-60D3-5A43-AA48-41867AFDBEE6}" type="slidenum">
              <a:rPr lang="fr-FR" sz="1467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sz="146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C65038-8DF6-46CC-A2FB-64A61411FD04}"/>
              </a:ext>
            </a:extLst>
          </p:cNvPr>
          <p:cNvSpPr/>
          <p:nvPr userDrawn="1"/>
        </p:nvSpPr>
        <p:spPr>
          <a:xfrm>
            <a:off x="333668" y="637690"/>
            <a:ext cx="11614047" cy="115026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B579E1-7E5F-4650-ABF0-CD2B4FC4BC2A}"/>
              </a:ext>
            </a:extLst>
          </p:cNvPr>
          <p:cNvSpPr/>
          <p:nvPr userDrawn="1"/>
        </p:nvSpPr>
        <p:spPr>
          <a:xfrm>
            <a:off x="333667" y="1982142"/>
            <a:ext cx="11614048" cy="4525905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847FDA4-57B6-4001-8837-E976181CE88B}"/>
              </a:ext>
            </a:extLst>
          </p:cNvPr>
          <p:cNvSpPr txBox="1"/>
          <p:nvPr userDrawn="1"/>
        </p:nvSpPr>
        <p:spPr>
          <a:xfrm>
            <a:off x="717727" y="1829380"/>
            <a:ext cx="211391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vrables / Calendrier</a:t>
            </a:r>
            <a:endParaRPr lang="fr-FR" sz="1400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2FAFE24C-0463-4DC9-BEDB-9886C7D534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2167467"/>
            <a:ext cx="508813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Livrables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3153BADA-186F-4665-85F0-79965F5DE2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9938" y="2160262"/>
            <a:ext cx="3552393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alendrier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id="{DCD5048B-01B2-4A55-8F75-8D10B0DDFD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72331" y="2160261"/>
            <a:ext cx="278523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Besoin de financement ?</a:t>
            </a:r>
          </a:p>
        </p:txBody>
      </p:sp>
      <p:sp>
        <p:nvSpPr>
          <p:cNvPr id="14" name="Espace réservé du texte 10">
            <a:extLst>
              <a:ext uri="{FF2B5EF4-FFF2-40B4-BE49-F238E27FC236}">
                <a16:creationId xmlns:a16="http://schemas.microsoft.com/office/drawing/2014/main" id="{DC21AF6D-3F09-4B70-9883-7BA96DDAAA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2470509"/>
            <a:ext cx="5088136" cy="3822715"/>
          </a:xfrm>
          <a:prstGeom prst="rect">
            <a:avLst/>
          </a:prstGeom>
        </p:spPr>
        <p:txBody>
          <a:bodyPr/>
          <a:lstStyle>
            <a:lvl1pPr marL="304792" marR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Nom du livrable</a:t>
            </a:r>
          </a:p>
          <a:p>
            <a:pPr marL="304792" marR="0" lvl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Nom du livrable</a:t>
            </a:r>
          </a:p>
          <a:p>
            <a:pPr marL="304792" marR="0" lvl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Nom du livrable</a:t>
            </a:r>
          </a:p>
          <a:p>
            <a:pPr lvl="0"/>
            <a:endParaRPr lang="fr-FR"/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D45269D1-0BF8-4B6D-A668-AB6D1A5546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9938" y="2463304"/>
            <a:ext cx="3552393" cy="3822715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is Anné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Mois Anné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Mois Année</a:t>
            </a:r>
          </a:p>
          <a:p>
            <a:pPr lvl="0"/>
            <a:endParaRPr lang="fr-FR"/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id="{786175BA-2EB2-4183-B973-4CAA4E27A3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2331" y="2463303"/>
            <a:ext cx="2785236" cy="38227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38B4AB8-17C3-4F64-A329-0E40E296E633}"/>
              </a:ext>
            </a:extLst>
          </p:cNvPr>
          <p:cNvSpPr txBox="1"/>
          <p:nvPr userDrawn="1"/>
        </p:nvSpPr>
        <p:spPr>
          <a:xfrm>
            <a:off x="4740546" y="467228"/>
            <a:ext cx="2551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fs et périmètr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2A179DB1-1BB9-4A00-AB48-A40F6C4BE0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637118"/>
            <a:ext cx="11523133" cy="1104900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Décrire ici :</a:t>
            </a:r>
          </a:p>
          <a:p>
            <a:pPr lvl="0"/>
            <a:r>
              <a:rPr lang="fr-FR"/>
              <a:t>Les objectifs des travaux du GT (ex : « évaluer la faisabilité, les risques et les enjeux de (…) pour la filière », « préparer des positions ou arguments », etc.) </a:t>
            </a:r>
          </a:p>
          <a:p>
            <a:pPr lvl="0"/>
            <a:r>
              <a:rPr lang="fr-FR"/>
              <a:t>Le périmètre des travaux du GT (périmètre technique et, si pertinent, temporel (au sens cycle de vie))</a:t>
            </a:r>
          </a:p>
        </p:txBody>
      </p:sp>
    </p:spTree>
    <p:extLst>
      <p:ext uri="{BB962C8B-B14F-4D97-AF65-F5344CB8AC3E}">
        <p14:creationId xmlns:p14="http://schemas.microsoft.com/office/powerpoint/2010/main" val="26359875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7381" y="692697"/>
            <a:ext cx="10972800" cy="7969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="1">
                <a:solidFill>
                  <a:srgbClr val="174D97"/>
                </a:solidFill>
              </a:defRPr>
            </a:lvl1pPr>
          </a:lstStyle>
          <a:p>
            <a:r>
              <a:rPr kumimoji="0" lang="fr-FR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65104"/>
          </a:xfrm>
          <a:prstGeom prst="rect">
            <a:avLst/>
          </a:prstGeom>
        </p:spPr>
        <p:txBody>
          <a:bodyPr/>
          <a:lstStyle>
            <a:lvl1pPr marL="342891" marR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>
                <a:solidFill>
                  <a:srgbClr val="174D97"/>
                </a:solidFill>
              </a:defRPr>
            </a:lvl1pPr>
            <a:lvl2pPr marL="742932" marR="0" indent="-28574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2971" marR="0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600160" marR="0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4pPr>
            <a:lvl5pPr marL="2057349" marR="0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lvl5pPr>
          </a:lstStyle>
          <a:p>
            <a:pPr marL="342891" marR="0" lvl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Modifiez les styles du texte du masque</a:t>
            </a:r>
          </a:p>
          <a:p>
            <a:pPr marL="742932" marR="0" lvl="1" indent="-28574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Deuxième niveau</a:t>
            </a:r>
          </a:p>
          <a:p>
            <a:pPr marL="1142971" marR="0" lvl="2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Troisième niveau</a:t>
            </a:r>
          </a:p>
          <a:p>
            <a:pPr marL="1600160" marR="0" lvl="3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Quatrième niveau</a:t>
            </a:r>
          </a:p>
          <a:p>
            <a:pPr marL="2057349" marR="0" lvl="4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Cinquième niveau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r>
              <a:rPr lang="fr-FR">
                <a:solidFill>
                  <a:prstClr val="black">
                    <a:tint val="75000"/>
                  </a:prstClr>
                </a:solidFill>
              </a:rPr>
              <a:t>06/09/2016</a:t>
            </a: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914377"/>
            <a:r>
              <a:rPr lang="fr-FR"/>
              <a:t> 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18222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65761F-4987-4B91-B341-F376AD35C52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1642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85BC7-C0BD-49A1-8D05-309040419B1C}" type="datetimeFigureOut">
              <a:rPr lang="en-US" smtClean="0"/>
              <a:t>1/2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0"/>
            <a:ext cx="12192000" cy="0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C6585F-44D6-44EF-932A-0B0AFC9A8A7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7955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P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1029061" y="2004740"/>
            <a:ext cx="6987152" cy="1990661"/>
          </a:xfrm>
        </p:spPr>
        <p:txBody>
          <a:bodyPr tIns="0" rIns="0" bIns="0" anchor="t" anchorCtr="0">
            <a:noAutofit/>
          </a:bodyPr>
          <a:lstStyle>
            <a:lvl1pPr algn="l">
              <a:defRPr sz="3867" b="0">
                <a:solidFill>
                  <a:schemeClr val="bg1"/>
                </a:solidFill>
                <a:latin typeface="Arial Black" panose="020B0A04020102020204" pitchFamily="34" charset="0"/>
                <a:cs typeface="Arial"/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55534" y="1571411"/>
            <a:ext cx="10127740" cy="433332"/>
          </a:xfrm>
        </p:spPr>
        <p:txBody>
          <a:bodyPr tIns="0" rIns="0" bIns="0" anchor="t" anchorCtr="0">
            <a:noAutofit/>
          </a:bodyPr>
          <a:lstStyle>
            <a:lvl1pPr marL="0" indent="0" algn="l">
              <a:buNone/>
              <a:defRPr sz="2533" b="0" i="0">
                <a:solidFill>
                  <a:srgbClr val="FFFFFF"/>
                </a:solidFill>
                <a:latin typeface="Arial Black" panose="020B0A04020102020204" pitchFamily="34" charset="0"/>
                <a:cs typeface="Arial"/>
              </a:defRPr>
            </a:lvl1pPr>
            <a:lvl2pPr marL="608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6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5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3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2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0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58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673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r"/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 algn="r"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 descr="LOGO_PFA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086" y="5429857"/>
            <a:ext cx="2533637" cy="596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599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805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715" tIns="60857" rIns="121715" bIns="60857" rtlCol="0" anchor="ctr"/>
          <a:lstStyle/>
          <a:p>
            <a:pPr algn="ctr" defTabSz="608383"/>
            <a:endParaRPr lang="fr-FR" sz="2400">
              <a:solidFill>
                <a:prstClr val="white"/>
              </a:solidFill>
            </a:endParaRPr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7305675" cy="68580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079776" y="260648"/>
            <a:ext cx="7070824" cy="960107"/>
          </a:xfrm>
        </p:spPr>
        <p:txBody>
          <a:bodyPr wrap="none" anchor="ctr">
            <a:normAutofit/>
          </a:bodyPr>
          <a:lstStyle>
            <a:lvl1pPr algn="r">
              <a:defRPr sz="3200" b="0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943873" y="1220755"/>
            <a:ext cx="6206728" cy="960107"/>
          </a:xfrm>
        </p:spPr>
        <p:txBody>
          <a:bodyPr anchor="t" anchorCtr="0"/>
          <a:lstStyle>
            <a:lvl1pPr marL="0" indent="0" algn="r">
              <a:buNone/>
              <a:defRPr sz="2133" b="0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60838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684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52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369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20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04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5888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6732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378861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67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267" y="1604798"/>
            <a:ext cx="9912351" cy="4295065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5747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24195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>
              <a:latin typeface="Arial Narrow" panose="020B060602020203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" y="529192"/>
            <a:ext cx="12191999" cy="888445"/>
          </a:xfrm>
        </p:spPr>
        <p:txBody>
          <a:bodyPr>
            <a:normAutofit/>
          </a:bodyPr>
          <a:lstStyle>
            <a:lvl1pPr algn="ctr">
              <a:defRPr sz="4000">
                <a:solidFill>
                  <a:srgbClr val="E5332A"/>
                </a:solidFill>
              </a:defRPr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853939-4577-4DED-936B-883030F32E1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391389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A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346"/>
            <a:ext cx="1578709" cy="1160161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146551" y="2017545"/>
            <a:ext cx="3492564" cy="410861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356356"/>
            <a:ext cx="12192000" cy="365125"/>
          </a:xfrm>
          <a:prstGeom prst="rect">
            <a:avLst/>
          </a:prstGeo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3"/>
          </p:nvPr>
        </p:nvSpPr>
        <p:spPr>
          <a:xfrm>
            <a:off x="5124789" y="2017551"/>
            <a:ext cx="3485811" cy="45259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9154587" y="2017713"/>
            <a:ext cx="1993900" cy="2652712"/>
          </a:xfrm>
        </p:spPr>
        <p:txBody>
          <a:bodyPr/>
          <a:lstStyle>
            <a:lvl1pPr>
              <a:buNone/>
              <a:defRPr sz="16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1pPr>
            <a:lvl2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2pPr>
            <a:lvl3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3pPr>
            <a:lvl4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4pPr>
            <a:lvl5pPr>
              <a:defRPr sz="1000" b="0" i="1">
                <a:solidFill>
                  <a:srgbClr val="E5332A"/>
                </a:solidFill>
                <a:latin typeface="Arial Narrow Italic"/>
                <a:cs typeface="Arial Narrow Italic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31001" y="6296586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837749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A.png">
            <a:extLst>
              <a:ext uri="{FF2B5EF4-FFF2-40B4-BE49-F238E27FC236}">
                <a16:creationId xmlns:a16="http://schemas.microsoft.com/office/drawing/2014/main" id="{86C91282-89B7-4EE8-A289-A0A9799A5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  <a:effectLst/>
        </p:spPr>
      </p:pic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F368AEBE-4185-4942-BBED-F65BABFF5313}"/>
              </a:ext>
            </a:extLst>
          </p:cNvPr>
          <p:cNvSpPr txBox="1">
            <a:spLocks/>
          </p:cNvSpPr>
          <p:nvPr userDrawn="1"/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E48C36-60D3-5A43-AA48-41867AFDBEE6}" type="slidenum">
              <a:rPr lang="fr-FR" sz="1467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sz="146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80A09B-B5B4-4B52-90B3-FE7803CD6468}"/>
              </a:ext>
            </a:extLst>
          </p:cNvPr>
          <p:cNvSpPr/>
          <p:nvPr userDrawn="1"/>
        </p:nvSpPr>
        <p:spPr>
          <a:xfrm>
            <a:off x="333669" y="4566478"/>
            <a:ext cx="11614048" cy="2250143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/>
            <a:endParaRPr lang="fr-FR" sz="1800">
              <a:solidFill>
                <a:srgbClr val="4973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DBF356-9D8F-4D5D-9DA1-067709B172AD}"/>
              </a:ext>
            </a:extLst>
          </p:cNvPr>
          <p:cNvSpPr/>
          <p:nvPr userDrawn="1"/>
        </p:nvSpPr>
        <p:spPr>
          <a:xfrm>
            <a:off x="333668" y="637690"/>
            <a:ext cx="11614047" cy="115026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 algn="l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CA053D-E5B9-4352-A924-F87BCF1393C7}"/>
              </a:ext>
            </a:extLst>
          </p:cNvPr>
          <p:cNvSpPr/>
          <p:nvPr userDrawn="1"/>
        </p:nvSpPr>
        <p:spPr>
          <a:xfrm>
            <a:off x="6039134" y="1965577"/>
            <a:ext cx="5890980" cy="2422800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EC90094-4DA0-4631-A6FE-9ECA1AC67BB7}"/>
              </a:ext>
            </a:extLst>
          </p:cNvPr>
          <p:cNvSpPr txBox="1"/>
          <p:nvPr userDrawn="1"/>
        </p:nvSpPr>
        <p:spPr>
          <a:xfrm>
            <a:off x="6264335" y="1808304"/>
            <a:ext cx="21318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rgbClr val="1F497D"/>
                </a:solidFill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enjeux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B64A567-5A8E-407F-AD12-440EDB0B1FA4}"/>
              </a:ext>
            </a:extLst>
          </p:cNvPr>
          <p:cNvSpPr txBox="1"/>
          <p:nvPr userDrawn="1"/>
        </p:nvSpPr>
        <p:spPr>
          <a:xfrm>
            <a:off x="541762" y="4388046"/>
            <a:ext cx="115506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rous</a:t>
            </a:r>
            <a:endParaRPr lang="fr-FR" sz="1400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0A8055-9C3F-4049-80F0-4E8576CE9B79}"/>
              </a:ext>
            </a:extLst>
          </p:cNvPr>
          <p:cNvSpPr/>
          <p:nvPr userDrawn="1"/>
        </p:nvSpPr>
        <p:spPr>
          <a:xfrm>
            <a:off x="333668" y="1965577"/>
            <a:ext cx="5630176" cy="242128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44A19C8-DB12-4656-A58B-9395C8353F86}"/>
              </a:ext>
            </a:extLst>
          </p:cNvPr>
          <p:cNvSpPr txBox="1"/>
          <p:nvPr userDrawn="1"/>
        </p:nvSpPr>
        <p:spPr>
          <a:xfrm>
            <a:off x="4740546" y="467228"/>
            <a:ext cx="2551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fs et périmètr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9423235-3890-49FB-9DD1-05F6D1ED6333}"/>
              </a:ext>
            </a:extLst>
          </p:cNvPr>
          <p:cNvSpPr txBox="1"/>
          <p:nvPr userDrawn="1"/>
        </p:nvSpPr>
        <p:spPr>
          <a:xfrm>
            <a:off x="541760" y="1808304"/>
            <a:ext cx="14264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rgbClr val="1F497D"/>
                </a:solidFill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nts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6647E7-82D4-4C3F-B96C-5D5DCA89F0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" y="-12759"/>
            <a:ext cx="12192000" cy="338555"/>
          </a:xfrm>
          <a:prstGeom prst="rect">
            <a:avLst/>
          </a:prstGeom>
        </p:spPr>
        <p:txBody>
          <a:bodyPr/>
          <a:lstStyle>
            <a:lvl1pPr marL="0" marR="0" indent="0" algn="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ille de route [insérer nom GT]</a:t>
            </a:r>
            <a:endParaRPr lang="fr-FR"/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E9282A0-64CC-427A-B629-7D536940F2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637118"/>
            <a:ext cx="11523133" cy="1104900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Décrire ici :</a:t>
            </a:r>
          </a:p>
          <a:p>
            <a:pPr lvl="0"/>
            <a:r>
              <a:rPr lang="fr-FR"/>
              <a:t>Les objectifs des travaux du GT (ex : « évaluer la faisabilité, les risques et les enjeux de (…) pour la filière », « préparer des positions ou arguments », etc.) </a:t>
            </a:r>
          </a:p>
          <a:p>
            <a:pPr lvl="0"/>
            <a:r>
              <a:rPr lang="fr-FR"/>
              <a:t>Le périmètre des travaux du GT (périmètre technique et, si pertinent, temporel (au sens cycle de vie))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C6EFE7C-13B7-4A5E-84BC-306142EE4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1" y="2084917"/>
            <a:ext cx="5761567" cy="2192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ontexte opérationnel filière automobile </a:t>
            </a:r>
          </a:p>
          <a:p>
            <a:pPr lvl="1"/>
            <a:r>
              <a:rPr lang="fr-FR"/>
              <a:t>Evolutions ou tendances technologiques. Parties prenantes et acteurs de la chaîne de valeur concernés (filière et hors filière) </a:t>
            </a:r>
          </a:p>
          <a:p>
            <a:pPr lvl="0"/>
            <a:r>
              <a:rPr lang="fr-FR"/>
              <a:t>Contexte réglementaire ou normatif </a:t>
            </a:r>
          </a:p>
          <a:p>
            <a:pPr lvl="1"/>
            <a:r>
              <a:rPr lang="fr-FR"/>
              <a:t>Objectifs des réglementations ou normes existantes ou en projet. Tendances dans le domaine et motivations </a:t>
            </a:r>
          </a:p>
          <a:p>
            <a:pPr lvl="1"/>
            <a:r>
              <a:rPr lang="fr-FR"/>
              <a:t>Contenu, dates ou période prochaines étapes réglementation ou normes</a:t>
            </a:r>
          </a:p>
          <a:p>
            <a:pPr lvl="0"/>
            <a:r>
              <a:rPr lang="fr-FR"/>
              <a:t>Enjeux </a:t>
            </a:r>
          </a:p>
          <a:p>
            <a:pPr marL="239994" lvl="1" indent="-2399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/>
              <a:t>Impacts potentiels des réglementations ou normes discutées pour les acteurs de la filière (positifs ou négatifs) et pour les autres parties prenantes. Les enjeux peuvent être qualitatifs (nature de l’enjeu : stratégique, économique, technique, besoin en ressources, etc.) et quantitatifs (combien et quand)</a:t>
            </a:r>
          </a:p>
        </p:txBody>
      </p:sp>
      <p:sp>
        <p:nvSpPr>
          <p:cNvPr id="28" name="Espace réservé du texte 23">
            <a:extLst>
              <a:ext uri="{FF2B5EF4-FFF2-40B4-BE49-F238E27FC236}">
                <a16:creationId xmlns:a16="http://schemas.microsoft.com/office/drawing/2014/main" id="{E94E7E5B-68E0-4824-9789-E00B0EBFA0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818" y="3044957"/>
            <a:ext cx="5456161" cy="1232827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0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</p:txBody>
      </p:sp>
      <p:sp>
        <p:nvSpPr>
          <p:cNvPr id="29" name="Espace réservé du texte 23">
            <a:extLst>
              <a:ext uri="{FF2B5EF4-FFF2-40B4-BE49-F238E27FC236}">
                <a16:creationId xmlns:a16="http://schemas.microsoft.com/office/drawing/2014/main" id="{01F32474-9E72-4FFC-8662-F27AAAAA0E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817" y="2779993"/>
            <a:ext cx="5516028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EMBRES</a:t>
            </a:r>
          </a:p>
          <a:p>
            <a:pPr lvl="0"/>
            <a:endParaRPr lang="fr-FR"/>
          </a:p>
        </p:txBody>
      </p:sp>
      <p:sp>
        <p:nvSpPr>
          <p:cNvPr id="30" name="Espace réservé du texte 23">
            <a:extLst>
              <a:ext uri="{FF2B5EF4-FFF2-40B4-BE49-F238E27FC236}">
                <a16:creationId xmlns:a16="http://schemas.microsoft.com/office/drawing/2014/main" id="{44D94B10-C109-471D-A94F-CC5395B956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819" y="2364809"/>
            <a:ext cx="5516027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</p:txBody>
      </p:sp>
      <p:sp>
        <p:nvSpPr>
          <p:cNvPr id="31" name="Espace réservé du texte 23">
            <a:extLst>
              <a:ext uri="{FF2B5EF4-FFF2-40B4-BE49-F238E27FC236}">
                <a16:creationId xmlns:a16="http://schemas.microsoft.com/office/drawing/2014/main" id="{E83BE619-BBC7-4218-8A01-538B427E1A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817" y="2099845"/>
            <a:ext cx="5516028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PILOTES</a:t>
            </a:r>
          </a:p>
          <a:p>
            <a:pPr lvl="0"/>
            <a:endParaRPr lang="fr-FR"/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7F9902B0-6C24-422E-9CF8-865C921093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745" y="4642486"/>
            <a:ext cx="3552393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éta-Verrous</a:t>
            </a:r>
          </a:p>
        </p:txBody>
      </p:sp>
      <p:sp>
        <p:nvSpPr>
          <p:cNvPr id="39" name="Espace réservé du texte 10">
            <a:extLst>
              <a:ext uri="{FF2B5EF4-FFF2-40B4-BE49-F238E27FC236}">
                <a16:creationId xmlns:a16="http://schemas.microsoft.com/office/drawing/2014/main" id="{33B824A8-BBD1-46A4-A9FA-C91678CF55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94055" y="4635279"/>
            <a:ext cx="363811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Verrous</a:t>
            </a:r>
          </a:p>
        </p:txBody>
      </p:sp>
      <p:sp>
        <p:nvSpPr>
          <p:cNvPr id="40" name="Espace réservé du texte 10">
            <a:extLst>
              <a:ext uri="{FF2B5EF4-FFF2-40B4-BE49-F238E27FC236}">
                <a16:creationId xmlns:a16="http://schemas.microsoft.com/office/drawing/2014/main" id="{28E488C8-4C76-4DFE-8812-5458B57CDD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32172" y="4635279"/>
            <a:ext cx="4223339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Actions</a:t>
            </a:r>
          </a:p>
        </p:txBody>
      </p:sp>
      <p:sp>
        <p:nvSpPr>
          <p:cNvPr id="41" name="Espace réservé du texte 10">
            <a:extLst>
              <a:ext uri="{FF2B5EF4-FFF2-40B4-BE49-F238E27FC236}">
                <a16:creationId xmlns:a16="http://schemas.microsoft.com/office/drawing/2014/main" id="{90F182DE-4109-4DBF-85C3-17FD544C0D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745" y="4945528"/>
            <a:ext cx="3552393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ter ici les grands défis à relever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cas échéant, en fonction des cas d’usages prioritaires définis dans le cadre du Programme pour mettre en œuvre les cas d’usages dans le calendrier imparti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méta-verrous peuvent être formulés sous forme de question.</a:t>
            </a:r>
          </a:p>
        </p:txBody>
      </p:sp>
      <p:sp>
        <p:nvSpPr>
          <p:cNvPr id="42" name="Espace réservé du texte 10">
            <a:extLst>
              <a:ext uri="{FF2B5EF4-FFF2-40B4-BE49-F238E27FC236}">
                <a16:creationId xmlns:a16="http://schemas.microsoft.com/office/drawing/2014/main" id="{E59D914F-5B59-405C-A3B8-9CF965CA2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94055" y="4938322"/>
            <a:ext cx="3638116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cliner les méta-verrous/grands défis verrous techniques, sociétaux, normatifs, réglementaires, etc.</a:t>
            </a:r>
          </a:p>
          <a:p>
            <a:pPr lvl="0"/>
            <a:endParaRPr lang="fr-FR"/>
          </a:p>
        </p:txBody>
      </p:sp>
      <p:sp>
        <p:nvSpPr>
          <p:cNvPr id="43" name="Espace réservé du texte 10">
            <a:extLst>
              <a:ext uri="{FF2B5EF4-FFF2-40B4-BE49-F238E27FC236}">
                <a16:creationId xmlns:a16="http://schemas.microsoft.com/office/drawing/2014/main" id="{010F2A46-BB78-45CC-9AA0-884F2D36DD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2172" y="4938322"/>
            <a:ext cx="4223339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cliner les verrous en actions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15250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A.png">
            <a:extLst>
              <a:ext uri="{FF2B5EF4-FFF2-40B4-BE49-F238E27FC236}">
                <a16:creationId xmlns:a16="http://schemas.microsoft.com/office/drawing/2014/main" id="{614D6510-5A01-479A-950A-6C82982A30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  <a:effectLst/>
        </p:spPr>
      </p:pic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5688A4DD-2103-4448-996F-59D4E263A955}"/>
              </a:ext>
            </a:extLst>
          </p:cNvPr>
          <p:cNvSpPr txBox="1">
            <a:spLocks/>
          </p:cNvSpPr>
          <p:nvPr userDrawn="1"/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E48C36-60D3-5A43-AA48-41867AFDBEE6}" type="slidenum">
              <a:rPr lang="fr-FR" sz="1467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sz="146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AC65038-8DF6-46CC-A2FB-64A61411FD04}"/>
              </a:ext>
            </a:extLst>
          </p:cNvPr>
          <p:cNvSpPr/>
          <p:nvPr userDrawn="1"/>
        </p:nvSpPr>
        <p:spPr>
          <a:xfrm>
            <a:off x="333668" y="637690"/>
            <a:ext cx="11614047" cy="115026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B579E1-7E5F-4650-ABF0-CD2B4FC4BC2A}"/>
              </a:ext>
            </a:extLst>
          </p:cNvPr>
          <p:cNvSpPr/>
          <p:nvPr userDrawn="1"/>
        </p:nvSpPr>
        <p:spPr>
          <a:xfrm>
            <a:off x="333667" y="1982142"/>
            <a:ext cx="11614048" cy="4525905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847FDA4-57B6-4001-8837-E976181CE88B}"/>
              </a:ext>
            </a:extLst>
          </p:cNvPr>
          <p:cNvSpPr txBox="1"/>
          <p:nvPr userDrawn="1"/>
        </p:nvSpPr>
        <p:spPr>
          <a:xfrm>
            <a:off x="717727" y="1829380"/>
            <a:ext cx="211391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vrables / Calendrier</a:t>
            </a:r>
            <a:endParaRPr lang="fr-FR" sz="1400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2FAFE24C-0463-4DC9-BEDB-9886C7D534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2167467"/>
            <a:ext cx="508813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Livrables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3153BADA-186F-4665-85F0-79965F5DE2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9938" y="2160262"/>
            <a:ext cx="3552393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alendrier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id="{DCD5048B-01B2-4A55-8F75-8D10B0DDFD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72331" y="2160261"/>
            <a:ext cx="278523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Besoin de financement ?</a:t>
            </a:r>
          </a:p>
        </p:txBody>
      </p:sp>
      <p:sp>
        <p:nvSpPr>
          <p:cNvPr id="14" name="Espace réservé du texte 10">
            <a:extLst>
              <a:ext uri="{FF2B5EF4-FFF2-40B4-BE49-F238E27FC236}">
                <a16:creationId xmlns:a16="http://schemas.microsoft.com/office/drawing/2014/main" id="{DC21AF6D-3F09-4B70-9883-7BA96DDAAA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2470509"/>
            <a:ext cx="5088136" cy="3822715"/>
          </a:xfrm>
          <a:prstGeom prst="rect">
            <a:avLst/>
          </a:prstGeom>
        </p:spPr>
        <p:txBody>
          <a:bodyPr/>
          <a:lstStyle>
            <a:lvl1pPr marL="304792" marR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Nom du livrable</a:t>
            </a:r>
          </a:p>
          <a:p>
            <a:pPr marL="304792" marR="0" lvl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Nom du livrable</a:t>
            </a:r>
          </a:p>
          <a:p>
            <a:pPr marL="304792" marR="0" lvl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Nom du livrable</a:t>
            </a:r>
          </a:p>
          <a:p>
            <a:pPr lvl="0"/>
            <a:endParaRPr lang="fr-FR"/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D45269D1-0BF8-4B6D-A668-AB6D1A5546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9938" y="2463304"/>
            <a:ext cx="3552393" cy="3822715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is Anné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Mois Anné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Mois Année</a:t>
            </a:r>
          </a:p>
          <a:p>
            <a:pPr lvl="0"/>
            <a:endParaRPr lang="fr-FR"/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id="{786175BA-2EB2-4183-B973-4CAA4E27A3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2331" y="2463303"/>
            <a:ext cx="2785236" cy="38227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A38B4AB8-17C3-4F64-A329-0E40E296E633}"/>
              </a:ext>
            </a:extLst>
          </p:cNvPr>
          <p:cNvSpPr txBox="1"/>
          <p:nvPr userDrawn="1"/>
        </p:nvSpPr>
        <p:spPr>
          <a:xfrm>
            <a:off x="4740546" y="467228"/>
            <a:ext cx="2551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fs et périmètre</a:t>
            </a:r>
          </a:p>
        </p:txBody>
      </p:sp>
      <p:sp>
        <p:nvSpPr>
          <p:cNvPr id="9" name="Espace réservé du texte 15">
            <a:extLst>
              <a:ext uri="{FF2B5EF4-FFF2-40B4-BE49-F238E27FC236}">
                <a16:creationId xmlns:a16="http://schemas.microsoft.com/office/drawing/2014/main" id="{2A179DB1-1BB9-4A00-AB48-A40F6C4BE0D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637118"/>
            <a:ext cx="11523133" cy="1104900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Décrire ici :</a:t>
            </a:r>
          </a:p>
          <a:p>
            <a:pPr lvl="0"/>
            <a:r>
              <a:rPr lang="fr-FR"/>
              <a:t>Les objectifs des travaux du GT (ex : « évaluer la faisabilité, les risques et les enjeux de (…) pour la filière », « préparer des positions ou arguments », etc.) </a:t>
            </a:r>
          </a:p>
          <a:p>
            <a:pPr lvl="0"/>
            <a:r>
              <a:rPr lang="fr-FR"/>
              <a:t>Le périmètre des travaux du GT (périmètre technique et, si pertinent, temporel (au sens cycle de vie))</a:t>
            </a:r>
          </a:p>
        </p:txBody>
      </p:sp>
    </p:spTree>
    <p:extLst>
      <p:ext uri="{BB962C8B-B14F-4D97-AF65-F5344CB8AC3E}">
        <p14:creationId xmlns:p14="http://schemas.microsoft.com/office/powerpoint/2010/main" val="370887656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A.png">
            <a:extLst>
              <a:ext uri="{FF2B5EF4-FFF2-40B4-BE49-F238E27FC236}">
                <a16:creationId xmlns:a16="http://schemas.microsoft.com/office/drawing/2014/main" id="{86C91282-89B7-4EE8-A289-A0A9799A5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  <a:effectLst/>
        </p:spPr>
      </p:pic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F368AEBE-4185-4942-BBED-F65BABFF5313}"/>
              </a:ext>
            </a:extLst>
          </p:cNvPr>
          <p:cNvSpPr txBox="1">
            <a:spLocks/>
          </p:cNvSpPr>
          <p:nvPr userDrawn="1"/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E48C36-60D3-5A43-AA48-41867AFDBEE6}" type="slidenum">
              <a:rPr lang="fr-FR" sz="1467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sz="146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980A09B-B5B4-4B52-90B3-FE7803CD6468}"/>
              </a:ext>
            </a:extLst>
          </p:cNvPr>
          <p:cNvSpPr/>
          <p:nvPr userDrawn="1"/>
        </p:nvSpPr>
        <p:spPr>
          <a:xfrm>
            <a:off x="333669" y="4566478"/>
            <a:ext cx="11614048" cy="2250143"/>
          </a:xfrm>
          <a:prstGeom prst="rect">
            <a:avLst/>
          </a:prstGeom>
          <a:solidFill>
            <a:schemeClr val="bg1">
              <a:alpha val="68000"/>
            </a:schemeClr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/>
            <a:endParaRPr lang="fr-FR" sz="1800">
              <a:solidFill>
                <a:srgbClr val="4973A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2DBF356-9D8F-4D5D-9DA1-067709B172AD}"/>
              </a:ext>
            </a:extLst>
          </p:cNvPr>
          <p:cNvSpPr/>
          <p:nvPr userDrawn="1"/>
        </p:nvSpPr>
        <p:spPr>
          <a:xfrm>
            <a:off x="333668" y="637690"/>
            <a:ext cx="11614047" cy="115026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 algn="l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0CA053D-E5B9-4352-A924-F87BCF1393C7}"/>
              </a:ext>
            </a:extLst>
          </p:cNvPr>
          <p:cNvSpPr/>
          <p:nvPr userDrawn="1"/>
        </p:nvSpPr>
        <p:spPr>
          <a:xfrm>
            <a:off x="6039134" y="1965577"/>
            <a:ext cx="5890980" cy="2422800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EEC90094-4DA0-4631-A6FE-9ECA1AC67BB7}"/>
              </a:ext>
            </a:extLst>
          </p:cNvPr>
          <p:cNvSpPr txBox="1"/>
          <p:nvPr userDrawn="1"/>
        </p:nvSpPr>
        <p:spPr>
          <a:xfrm>
            <a:off x="6264335" y="1808304"/>
            <a:ext cx="21318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rgbClr val="1F497D"/>
                </a:solidFill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et enjeux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B64A567-5A8E-407F-AD12-440EDB0B1FA4}"/>
              </a:ext>
            </a:extLst>
          </p:cNvPr>
          <p:cNvSpPr txBox="1"/>
          <p:nvPr userDrawn="1"/>
        </p:nvSpPr>
        <p:spPr>
          <a:xfrm>
            <a:off x="541762" y="4388046"/>
            <a:ext cx="115506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errous</a:t>
            </a:r>
            <a:endParaRPr lang="fr-FR" sz="1400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E0A8055-9C3F-4049-80F0-4E8576CE9B79}"/>
              </a:ext>
            </a:extLst>
          </p:cNvPr>
          <p:cNvSpPr/>
          <p:nvPr userDrawn="1"/>
        </p:nvSpPr>
        <p:spPr>
          <a:xfrm>
            <a:off x="333668" y="1965577"/>
            <a:ext cx="5630176" cy="2421283"/>
          </a:xfrm>
          <a:prstGeom prst="rect">
            <a:avLst/>
          </a:prstGeom>
          <a:solidFill>
            <a:schemeClr val="bg1"/>
          </a:solidFill>
          <a:ln>
            <a:solidFill>
              <a:srgbClr val="3127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lvl="0" indent="-228594" defTabSz="914377">
              <a:buFont typeface="Arial" panose="020B0604020202020204" pitchFamily="34" charset="0"/>
              <a:buChar char="•"/>
            </a:pPr>
            <a:endParaRPr lang="fr-FR" sz="1333">
              <a:solidFill>
                <a:srgbClr val="31278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044A19C8-DB12-4656-A58B-9395C8353F86}"/>
              </a:ext>
            </a:extLst>
          </p:cNvPr>
          <p:cNvSpPr txBox="1"/>
          <p:nvPr userDrawn="1"/>
        </p:nvSpPr>
        <p:spPr>
          <a:xfrm>
            <a:off x="4740546" y="467228"/>
            <a:ext cx="25515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fs et périmètr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E9423235-3890-49FB-9DD1-05F6D1ED6333}"/>
              </a:ext>
            </a:extLst>
          </p:cNvPr>
          <p:cNvSpPr txBox="1"/>
          <p:nvPr userDrawn="1"/>
        </p:nvSpPr>
        <p:spPr>
          <a:xfrm>
            <a:off x="541760" y="1808304"/>
            <a:ext cx="14264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rgbClr val="1F497D"/>
                </a:solidFill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defTabSz="914377"/>
            <a:r>
              <a:rPr lang="fr-FR" sz="140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nts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6647E7-82D4-4C3F-B96C-5D5DCA89F0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" y="-12759"/>
            <a:ext cx="12192000" cy="338555"/>
          </a:xfrm>
          <a:prstGeom prst="rect">
            <a:avLst/>
          </a:prstGeom>
        </p:spPr>
        <p:txBody>
          <a:bodyPr/>
          <a:lstStyle>
            <a:lvl1pPr marL="0" marR="0" indent="0" algn="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 algn="r"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uille de route [insérer nom GT]</a:t>
            </a:r>
            <a:endParaRPr lang="fr-FR"/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E9282A0-64CC-427A-B629-7D536940F2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434" y="637118"/>
            <a:ext cx="11523133" cy="1104900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333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Décrire ici :</a:t>
            </a:r>
          </a:p>
          <a:p>
            <a:pPr lvl="0"/>
            <a:r>
              <a:rPr lang="fr-FR"/>
              <a:t>Les objectifs des travaux du GT (ex : « évaluer la faisabilité, les risques et les enjeux de (…) pour la filière », « préparer des positions ou arguments », etc.) </a:t>
            </a:r>
          </a:p>
          <a:p>
            <a:pPr lvl="0"/>
            <a:r>
              <a:rPr lang="fr-FR"/>
              <a:t>Le périmètre des travaux du GT (périmètre technique et, si pertinent, temporel (au sens cycle de vie))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4C6EFE7C-13B7-4A5E-84BC-306142EE4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1" y="2084917"/>
            <a:ext cx="5761567" cy="2192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ontexte opérationnel filière automobile </a:t>
            </a:r>
          </a:p>
          <a:p>
            <a:pPr lvl="1"/>
            <a:r>
              <a:rPr lang="fr-FR"/>
              <a:t>Evolutions ou tendances technologiques. Parties prenantes et acteurs de la chaîne de valeur concernés (filière et hors filière) </a:t>
            </a:r>
          </a:p>
          <a:p>
            <a:pPr lvl="0"/>
            <a:r>
              <a:rPr lang="fr-FR"/>
              <a:t>Contexte réglementaire ou normatif </a:t>
            </a:r>
          </a:p>
          <a:p>
            <a:pPr lvl="1"/>
            <a:r>
              <a:rPr lang="fr-FR"/>
              <a:t>Objectifs des réglementations ou normes existantes ou en projet. Tendances dans le domaine et motivations </a:t>
            </a:r>
          </a:p>
          <a:p>
            <a:pPr lvl="1"/>
            <a:r>
              <a:rPr lang="fr-FR"/>
              <a:t>Contenu, dates ou période prochaines étapes réglementation ou normes</a:t>
            </a:r>
          </a:p>
          <a:p>
            <a:pPr lvl="0"/>
            <a:r>
              <a:rPr lang="fr-FR"/>
              <a:t>Enjeux </a:t>
            </a:r>
          </a:p>
          <a:p>
            <a:pPr marL="239994" lvl="1" indent="-2399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fr-FR"/>
              <a:t>Impacts potentiels des réglementations ou normes discutées pour les acteurs de la filière (positifs ou négatifs) et pour les autres parties prenantes. Les enjeux peuvent être qualitatifs (nature de l’enjeu : stratégique, économique, technique, besoin en ressources, etc.) et quantitatifs (combien et quand)</a:t>
            </a:r>
          </a:p>
        </p:txBody>
      </p:sp>
      <p:sp>
        <p:nvSpPr>
          <p:cNvPr id="28" name="Espace réservé du texte 23">
            <a:extLst>
              <a:ext uri="{FF2B5EF4-FFF2-40B4-BE49-F238E27FC236}">
                <a16:creationId xmlns:a16="http://schemas.microsoft.com/office/drawing/2014/main" id="{E94E7E5B-68E0-4824-9789-E00B0EBFA0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7818" y="3044957"/>
            <a:ext cx="5456161" cy="1232827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0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</p:txBody>
      </p:sp>
      <p:sp>
        <p:nvSpPr>
          <p:cNvPr id="29" name="Espace réservé du texte 23">
            <a:extLst>
              <a:ext uri="{FF2B5EF4-FFF2-40B4-BE49-F238E27FC236}">
                <a16:creationId xmlns:a16="http://schemas.microsoft.com/office/drawing/2014/main" id="{01F32474-9E72-4FFC-8662-F27AAAAA0E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817" y="2779993"/>
            <a:ext cx="5516028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EMBRES</a:t>
            </a:r>
          </a:p>
          <a:p>
            <a:pPr lvl="0"/>
            <a:endParaRPr lang="fr-FR"/>
          </a:p>
        </p:txBody>
      </p:sp>
      <p:sp>
        <p:nvSpPr>
          <p:cNvPr id="30" name="Espace réservé du texte 23">
            <a:extLst>
              <a:ext uri="{FF2B5EF4-FFF2-40B4-BE49-F238E27FC236}">
                <a16:creationId xmlns:a16="http://schemas.microsoft.com/office/drawing/2014/main" id="{44D94B10-C109-471D-A94F-CC5395B956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819" y="2364809"/>
            <a:ext cx="5516027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Entreprise – Individu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Entreprise – Individu </a:t>
            </a:r>
          </a:p>
        </p:txBody>
      </p:sp>
      <p:sp>
        <p:nvSpPr>
          <p:cNvPr id="31" name="Espace réservé du texte 23">
            <a:extLst>
              <a:ext uri="{FF2B5EF4-FFF2-40B4-BE49-F238E27FC236}">
                <a16:creationId xmlns:a16="http://schemas.microsoft.com/office/drawing/2014/main" id="{E83BE619-BBC7-4218-8A01-538B427E1A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817" y="2099845"/>
            <a:ext cx="5516028" cy="263779"/>
          </a:xfrm>
          <a:prstGeom prst="rect">
            <a:avLst/>
          </a:prstGeom>
        </p:spPr>
        <p:txBody>
          <a:bodyPr numCol="2"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fr-FR" sz="933" b="1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9994" indent="-239994">
              <a:buFont typeface="Arial" panose="020B0604020202020204" pitchFamily="34" charset="0"/>
              <a:buChar char="•"/>
              <a:defRPr lang="fr-FR" sz="933" kern="1200" dirty="0" smtClean="0">
                <a:solidFill>
                  <a:srgbClr val="31278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fr-FR" sz="1333" dirty="0" smtClean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fr-FR" sz="1333" dirty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PILOTES</a:t>
            </a:r>
          </a:p>
          <a:p>
            <a:pPr lvl="0"/>
            <a:endParaRPr lang="fr-FR"/>
          </a:p>
        </p:txBody>
      </p:sp>
      <p:sp>
        <p:nvSpPr>
          <p:cNvPr id="38" name="Espace réservé du texte 10">
            <a:extLst>
              <a:ext uri="{FF2B5EF4-FFF2-40B4-BE49-F238E27FC236}">
                <a16:creationId xmlns:a16="http://schemas.microsoft.com/office/drawing/2014/main" id="{7F9902B0-6C24-422E-9CF8-865C921093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745" y="4642486"/>
            <a:ext cx="3552393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éta-Verrous</a:t>
            </a:r>
          </a:p>
        </p:txBody>
      </p:sp>
      <p:sp>
        <p:nvSpPr>
          <p:cNvPr id="39" name="Espace réservé du texte 10">
            <a:extLst>
              <a:ext uri="{FF2B5EF4-FFF2-40B4-BE49-F238E27FC236}">
                <a16:creationId xmlns:a16="http://schemas.microsoft.com/office/drawing/2014/main" id="{33B824A8-BBD1-46A4-A9FA-C91678CF55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94055" y="4635279"/>
            <a:ext cx="363811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Verrous</a:t>
            </a:r>
          </a:p>
        </p:txBody>
      </p:sp>
      <p:sp>
        <p:nvSpPr>
          <p:cNvPr id="40" name="Espace réservé du texte 10">
            <a:extLst>
              <a:ext uri="{FF2B5EF4-FFF2-40B4-BE49-F238E27FC236}">
                <a16:creationId xmlns:a16="http://schemas.microsoft.com/office/drawing/2014/main" id="{28E488C8-4C76-4DFE-8812-5458B57CDD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32172" y="4635279"/>
            <a:ext cx="4223339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Actions</a:t>
            </a:r>
          </a:p>
        </p:txBody>
      </p:sp>
      <p:sp>
        <p:nvSpPr>
          <p:cNvPr id="41" name="Espace réservé du texte 10">
            <a:extLst>
              <a:ext uri="{FF2B5EF4-FFF2-40B4-BE49-F238E27FC236}">
                <a16:creationId xmlns:a16="http://schemas.microsoft.com/office/drawing/2014/main" id="{90F182DE-4109-4DBF-85C3-17FD544C0D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745" y="4945528"/>
            <a:ext cx="3552393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ter ici les grands défis à relever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cas échéant, en fonction des cas d’usages prioritaires définis dans le cadre du Programme pour mettre en œuvre les cas d’usages dans le calendrier imparti.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méta-verrous peuvent être formulés sous forme de question.</a:t>
            </a:r>
          </a:p>
        </p:txBody>
      </p:sp>
      <p:sp>
        <p:nvSpPr>
          <p:cNvPr id="42" name="Espace réservé du texte 10">
            <a:extLst>
              <a:ext uri="{FF2B5EF4-FFF2-40B4-BE49-F238E27FC236}">
                <a16:creationId xmlns:a16="http://schemas.microsoft.com/office/drawing/2014/main" id="{E59D914F-5B59-405C-A3B8-9CF965CA2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994055" y="4938322"/>
            <a:ext cx="3638116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cliner les méta-verrous/grands défis verrous techniques, sociétaux, normatifs, réglementaires, etc.</a:t>
            </a:r>
          </a:p>
          <a:p>
            <a:pPr lvl="0"/>
            <a:endParaRPr lang="fr-FR"/>
          </a:p>
        </p:txBody>
      </p:sp>
      <p:sp>
        <p:nvSpPr>
          <p:cNvPr id="43" name="Espace réservé du texte 10">
            <a:extLst>
              <a:ext uri="{FF2B5EF4-FFF2-40B4-BE49-F238E27FC236}">
                <a16:creationId xmlns:a16="http://schemas.microsoft.com/office/drawing/2014/main" id="{010F2A46-BB78-45CC-9AA0-884F2D36DD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32172" y="4938322"/>
            <a:ext cx="4223339" cy="1712821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933" b="0" i="0" u="none" strike="noStrike" kern="1200" cap="none" spc="0" normalizeH="0" baseline="0" noProof="0">
                <a:ln>
                  <a:noFill/>
                </a:ln>
                <a:solidFill>
                  <a:srgbClr val="31278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écliner les verrous en actions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21228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 descr="A.png">
            <a:extLst>
              <a:ext uri="{FF2B5EF4-FFF2-40B4-BE49-F238E27FC236}">
                <a16:creationId xmlns:a16="http://schemas.microsoft.com/office/drawing/2014/main" id="{614D6510-5A01-479A-950A-6C82982A30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  <a:effectLst/>
        </p:spPr>
      </p:pic>
      <p:sp>
        <p:nvSpPr>
          <p:cNvPr id="4" name="Espace réservé du numéro de diapositive 4">
            <a:extLst>
              <a:ext uri="{FF2B5EF4-FFF2-40B4-BE49-F238E27FC236}">
                <a16:creationId xmlns:a16="http://schemas.microsoft.com/office/drawing/2014/main" id="{5688A4DD-2103-4448-996F-59D4E263A955}"/>
              </a:ext>
            </a:extLst>
          </p:cNvPr>
          <p:cNvSpPr txBox="1">
            <a:spLocks/>
          </p:cNvSpPr>
          <p:nvPr userDrawn="1"/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E48C36-60D3-5A43-AA48-41867AFDBEE6}" type="slidenum">
              <a:rPr lang="fr-FR" sz="1467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 sz="1467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2FAFE24C-0463-4DC9-BEDB-9886C7D534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1" y="2167467"/>
            <a:ext cx="508813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Livrables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3153BADA-186F-4665-85F0-79965F5DE2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19938" y="2160262"/>
            <a:ext cx="3552393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Calendrier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id="{DCD5048B-01B2-4A55-8F75-8D10B0DDFD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72331" y="2160261"/>
            <a:ext cx="2785236" cy="30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" b="1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Besoin de financement ?</a:t>
            </a:r>
          </a:p>
        </p:txBody>
      </p:sp>
      <p:sp>
        <p:nvSpPr>
          <p:cNvPr id="14" name="Espace réservé du texte 10">
            <a:extLst>
              <a:ext uri="{FF2B5EF4-FFF2-40B4-BE49-F238E27FC236}">
                <a16:creationId xmlns:a16="http://schemas.microsoft.com/office/drawing/2014/main" id="{DC21AF6D-3F09-4B70-9883-7BA96DDAAA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2470509"/>
            <a:ext cx="5088136" cy="3822715"/>
          </a:xfrm>
          <a:prstGeom prst="rect">
            <a:avLst/>
          </a:prstGeom>
        </p:spPr>
        <p:txBody>
          <a:bodyPr/>
          <a:lstStyle>
            <a:lvl1pPr marL="304792" marR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Nom du livrable</a:t>
            </a:r>
          </a:p>
          <a:p>
            <a:pPr marL="304792" marR="0" lvl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Nom du livrable</a:t>
            </a:r>
          </a:p>
          <a:p>
            <a:pPr marL="304792" marR="0" lvl="0" indent="-304792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Nom du livrable</a:t>
            </a:r>
          </a:p>
          <a:p>
            <a:pPr lvl="0"/>
            <a:endParaRPr lang="fr-FR"/>
          </a:p>
        </p:txBody>
      </p:sp>
      <p:sp>
        <p:nvSpPr>
          <p:cNvPr id="15" name="Espace réservé du texte 10">
            <a:extLst>
              <a:ext uri="{FF2B5EF4-FFF2-40B4-BE49-F238E27FC236}">
                <a16:creationId xmlns:a16="http://schemas.microsoft.com/office/drawing/2014/main" id="{D45269D1-0BF8-4B6D-A668-AB6D1A5546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9938" y="2463304"/>
            <a:ext cx="3552393" cy="3822715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Mois Anné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Mois Anné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/>
              <a:t>Mois Année</a:t>
            </a:r>
          </a:p>
          <a:p>
            <a:pPr lvl="0"/>
            <a:endParaRPr lang="fr-FR"/>
          </a:p>
        </p:txBody>
      </p:sp>
      <p:sp>
        <p:nvSpPr>
          <p:cNvPr id="16" name="Espace réservé du texte 10">
            <a:extLst>
              <a:ext uri="{FF2B5EF4-FFF2-40B4-BE49-F238E27FC236}">
                <a16:creationId xmlns:a16="http://schemas.microsoft.com/office/drawing/2014/main" id="{786175BA-2EB2-4183-B973-4CAA4E27A3A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72331" y="2463303"/>
            <a:ext cx="2785236" cy="382271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67" b="0">
                <a:solidFill>
                  <a:srgbClr val="31278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87985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27381" y="692697"/>
            <a:ext cx="10972800" cy="79695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="1">
                <a:solidFill>
                  <a:srgbClr val="174D97"/>
                </a:solidFill>
              </a:defRPr>
            </a:lvl1pPr>
          </a:lstStyle>
          <a:p>
            <a:r>
              <a:rPr kumimoji="0" lang="fr-FR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65104"/>
          </a:xfrm>
          <a:prstGeom prst="rect">
            <a:avLst/>
          </a:prstGeom>
        </p:spPr>
        <p:txBody>
          <a:bodyPr/>
          <a:lstStyle>
            <a:lvl1pPr marL="342891" marR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>
                <a:solidFill>
                  <a:srgbClr val="174D97"/>
                </a:solidFill>
              </a:defRPr>
            </a:lvl1pPr>
            <a:lvl2pPr marL="742932" marR="0" indent="-28574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2971" marR="0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600160" marR="0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4pPr>
            <a:lvl5pPr marL="2057349" marR="0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lvl5pPr>
          </a:lstStyle>
          <a:p>
            <a:pPr marL="342891" marR="0" lvl="0" indent="-342891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Modifiez les styles du texte du masque</a:t>
            </a:r>
          </a:p>
          <a:p>
            <a:pPr marL="742932" marR="0" lvl="1" indent="-28574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fr-FR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Deuxième niveau</a:t>
            </a:r>
          </a:p>
          <a:p>
            <a:pPr marL="1142971" marR="0" lvl="2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Troisième niveau</a:t>
            </a:r>
          </a:p>
          <a:p>
            <a:pPr marL="1600160" marR="0" lvl="3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Quatrième niveau</a:t>
            </a:r>
          </a:p>
          <a:p>
            <a:pPr marL="2057349" marR="0" lvl="4" indent="-228594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»"/>
              <a:tabLst/>
              <a:defRPr/>
            </a:pPr>
            <a:r>
              <a:rPr kumimoji="0" lang="fr-FR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Cinquième niveau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r>
              <a:rPr lang="fr-FR">
                <a:solidFill>
                  <a:prstClr val="black">
                    <a:tint val="75000"/>
                  </a:prstClr>
                </a:solidFill>
              </a:rPr>
              <a:t>06/09/2016</a:t>
            </a:r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914377"/>
            <a:r>
              <a:rPr lang="fr-FR"/>
              <a:t> 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737601" y="6356352"/>
            <a:ext cx="18222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65761F-4987-4B91-B341-F376AD35C52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53955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44333" y="1498603"/>
            <a:ext cx="7806267" cy="1079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91"/>
            <a:endParaRPr lang="fr-FR" sz="1351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0032E-8B5C-8940-9509-C1E45EB121E1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625667" y="6293226"/>
            <a:ext cx="7366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" name="Image 6" descr="P2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7305675" cy="6858000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6273800" y="1534657"/>
            <a:ext cx="591820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3800" y="1712459"/>
            <a:ext cx="4642805" cy="1362075"/>
          </a:xfrm>
        </p:spPr>
        <p:txBody>
          <a:bodyPr anchor="t">
            <a:normAutofit/>
          </a:bodyPr>
          <a:lstStyle>
            <a:lvl1pPr algn="l">
              <a:defRPr sz="1875" b="1" cap="all"/>
            </a:lvl1pPr>
          </a:lstStyle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6195489" y="686479"/>
            <a:ext cx="5737121" cy="1500187"/>
          </a:xfrm>
        </p:spPr>
        <p:txBody>
          <a:bodyPr anchor="t" anchorCtr="0"/>
          <a:lstStyle>
            <a:lvl1pPr marL="0" indent="0">
              <a:buNone/>
              <a:defRPr sz="3751">
                <a:solidFill>
                  <a:srgbClr val="312782"/>
                </a:solidFill>
                <a:latin typeface="Arial Black"/>
                <a:cs typeface="Arial Black"/>
              </a:defRPr>
            </a:lvl1pPr>
            <a:lvl2pPr marL="342891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4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6pPr>
            <a:lvl7pPr marL="2057349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8pPr>
            <a:lvl9pPr marL="2743131" indent="0">
              <a:buNone/>
              <a:defRPr sz="10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95371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832" y="125671"/>
            <a:ext cx="414025" cy="273184"/>
          </a:xfrm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5" name="Espace réservé du texte 8"/>
          <p:cNvSpPr>
            <a:spLocks noGrp="1"/>
          </p:cNvSpPr>
          <p:nvPr>
            <p:ph type="body" sz="quarter" idx="13"/>
          </p:nvPr>
        </p:nvSpPr>
        <p:spPr>
          <a:xfrm>
            <a:off x="1111973" y="125671"/>
            <a:ext cx="9825097" cy="27318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515115"/>
            <a:ext cx="121920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51"/>
            <a:r>
              <a:rPr lang="fr-FR"/>
              <a:t> </a:t>
            </a: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1344621" y="6515115"/>
            <a:ext cx="847417" cy="33866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456851"/>
            <a:fld id="{E0E48C36-60D3-5A43-AA48-41867AFDBEE6}" type="slidenum">
              <a:rPr lang="fr-FR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 defTabSz="456851"/>
              <a:t>‹N°›</a:t>
            </a:fld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5006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191345-1D1C-4D02-96F4-3524A455F0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3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191345-1D1C-4D02-96F4-3524A455F0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7" y="234866"/>
            <a:ext cx="11725484" cy="369332"/>
          </a:xfrm>
        </p:spPr>
        <p:txBody>
          <a:bodyPr/>
          <a:lstStyle>
            <a:lvl1pPr>
              <a:defRPr sz="2400">
                <a:latin typeface="Arial Black" panose="020B0A04020102020204" pitchFamily="34" charset="0"/>
              </a:defRPr>
            </a:lvl1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itle</a:t>
            </a:r>
            <a:r>
              <a:rPr lang="fr-FR"/>
              <a:t>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23445" y="6640502"/>
            <a:ext cx="16190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16" baseline="0" smtClean="0">
                <a:solidFill>
                  <a:srgbClr val="808080"/>
                </a:solidFill>
                <a:latin typeface="Arial Narrow" panose="020B0606020202030204" pitchFamily="34" charset="0"/>
              </a:rPr>
              <a:pPr/>
              <a:t>‹N°›</a:t>
            </a:fld>
            <a:endParaRPr lang="fr-FR" sz="816" baseline="0">
              <a:solidFill>
                <a:srgbClr val="80808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50" eaLnBrk="1"/>
            <a:endParaRPr lang="fr-FR" sz="816" baseline="0">
              <a:solidFill>
                <a:srgbClr val="808080"/>
              </a:solidFill>
              <a:latin typeface="Arial Narrow" panose="020B0606020202030204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92201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,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/>
          <p:cNvCxnSpPr/>
          <p:nvPr userDrawn="1"/>
        </p:nvCxnSpPr>
        <p:spPr>
          <a:xfrm>
            <a:off x="963631" y="185896"/>
            <a:ext cx="0" cy="190800"/>
          </a:xfrm>
          <a:prstGeom prst="line">
            <a:avLst/>
          </a:prstGeom>
          <a:ln w="25400">
            <a:solidFill>
              <a:srgbClr val="EE760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855" y="6444084"/>
            <a:ext cx="1131157" cy="205081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950741" y="806606"/>
            <a:ext cx="10277628" cy="396775"/>
          </a:xfrm>
        </p:spPr>
        <p:txBody>
          <a:bodyPr lIns="0" tIns="0" rIns="0" bIns="0">
            <a:noAutofit/>
          </a:bodyPr>
          <a:lstStyle>
            <a:lvl1pPr>
              <a:defRPr sz="2000" b="0" i="0">
                <a:solidFill>
                  <a:srgbClr val="70706F"/>
                </a:solidFill>
                <a:latin typeface="Source Sans Pro" panose="020B0503030403020204" pitchFamily="34" charset="0"/>
                <a:cs typeface="Sakkal Majalla" panose="02000000000000000000" pitchFamily="2" charset="-78"/>
              </a:defRPr>
            </a:lvl1pPr>
          </a:lstStyle>
          <a:p>
            <a:r>
              <a:rPr lang="fr-FR"/>
              <a:t>CLIQUEZ ET MODIFIEZ LE TITRE</a:t>
            </a:r>
            <a:endParaRPr lang="en-US"/>
          </a:p>
        </p:txBody>
      </p:sp>
      <p:sp>
        <p:nvSpPr>
          <p:cNvPr id="1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21870"/>
            <a:ext cx="12192000" cy="227295"/>
          </a:xfrm>
          <a:prstGeom prst="rect">
            <a:avLst/>
          </a:prstGeo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17" name="Espace réservé du contenu 15"/>
          <p:cNvSpPr>
            <a:spLocks noGrp="1"/>
          </p:cNvSpPr>
          <p:nvPr>
            <p:ph sz="quarter" idx="14" hasCustomPrompt="1"/>
          </p:nvPr>
        </p:nvSpPr>
        <p:spPr>
          <a:xfrm>
            <a:off x="1198463" y="188914"/>
            <a:ext cx="7784784" cy="179388"/>
          </a:xfrm>
          <a:prstGeom prst="rect">
            <a:avLst/>
          </a:prstGeom>
        </p:spPr>
        <p:txBody>
          <a:bodyPr lIns="0" tIns="0" rIns="190800" bIns="0" anchor="ctr">
            <a:noAutofit/>
          </a:bodyPr>
          <a:lstStyle>
            <a:lvl1pPr marL="0" indent="0">
              <a:buNone/>
              <a:defRPr sz="1000" b="0" i="0">
                <a:solidFill>
                  <a:srgbClr val="878787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pPr lvl="0"/>
            <a:r>
              <a:rPr lang="fr-FR"/>
              <a:t>NOM DE MISSION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188914"/>
            <a:ext cx="839659" cy="179388"/>
          </a:xfrm>
          <a:prstGeom prst="rect">
            <a:avLst/>
          </a:prstGeom>
        </p:spPr>
        <p:txBody>
          <a:bodyPr anchor="ctr" anchorCtr="0"/>
          <a:lstStyle>
            <a:lvl1pPr marL="0" algn="r" defTabSz="914377" rtl="0" eaLnBrk="1" latinLnBrk="0" hangingPunct="1">
              <a:defRPr lang="uk-UA" sz="1000" b="0" i="0" kern="1200" smtClean="0">
                <a:solidFill>
                  <a:srgbClr val="878787"/>
                </a:solidFill>
                <a:latin typeface="Source Sans Pro Light" panose="020B0403030403020204" pitchFamily="34" charset="0"/>
                <a:ea typeface="Source Sans Pro Light" panose="020B0403030403020204" pitchFamily="34" charset="0"/>
                <a:cs typeface="Source Sans Pro Light" panose="020B0403030403020204" pitchFamily="34" charset="0"/>
              </a:defRPr>
            </a:lvl1pPr>
          </a:lstStyle>
          <a:p>
            <a:fld id="{DFEC2D02-5028-F248-8B6B-05173442C51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950742" y="1592646"/>
            <a:ext cx="10285829" cy="4507567"/>
          </a:xfrm>
          <a:prstGeom prst="rect">
            <a:avLst/>
          </a:prstGeom>
        </p:spPr>
        <p:txBody>
          <a:bodyPr lIns="0" tIns="0" rIns="0">
            <a:noAutofit/>
          </a:bodyPr>
          <a:lstStyle>
            <a:lvl1pPr marL="0" indent="0">
              <a:buNone/>
              <a:defRPr sz="16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1pPr>
            <a:lvl2pPr marL="457199" indent="0">
              <a:buNone/>
              <a:defRPr sz="14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2pPr>
            <a:lvl3pPr marL="914400" indent="0">
              <a:buNone/>
              <a:defRPr sz="12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3pPr>
            <a:lvl4pPr marL="1371600" indent="0">
              <a:buNone/>
              <a:defRPr sz="1051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4pPr>
            <a:lvl5pPr>
              <a:defRPr sz="1400" b="0" i="0">
                <a:solidFill>
                  <a:srgbClr val="70706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Source Sans Pro" panose="020B0503030403020204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4288673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3">
          <p15:clr>
            <a:srgbClr val="FBAE40"/>
          </p15:clr>
        </p15:guide>
        <p15:guide id="2" pos="489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pos="5751">
          <p15:clr>
            <a:srgbClr val="FBAE40"/>
          </p15:clr>
        </p15:guide>
        <p15:guide id="5" pos="3120">
          <p15:clr>
            <a:srgbClr val="A4A3A4"/>
          </p15:clr>
        </p15:guide>
        <p15:guide id="6" pos="4435">
          <p15:clr>
            <a:srgbClr val="A4A3A4"/>
          </p15:clr>
        </p15:guide>
        <p15:guide id="7" pos="1805">
          <p15:clr>
            <a:srgbClr val="A4A3A4"/>
          </p15:clr>
        </p15:guide>
        <p15:guide id="8" orient="horz" pos="2409">
          <p15:clr>
            <a:srgbClr val="A4A3A4"/>
          </p15:clr>
        </p15:guide>
        <p15:guide id="9" orient="horz" pos="4042">
          <p15:clr>
            <a:srgbClr val="A4A3A4"/>
          </p15:clr>
        </p15:guide>
        <p15:guide id="10" orient="horz" pos="640">
          <p15:clr>
            <a:srgbClr val="A4A3A4"/>
          </p15:clr>
        </p15:guide>
        <p15:guide id="11" orient="horz" pos="232">
          <p15:clr>
            <a:srgbClr val="A4A3A4"/>
          </p15:clr>
        </p15:guide>
        <p15:guide id="12" orient="horz" pos="11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DCA1D-1BAF-4EEF-9375-9D881175EA69}" type="datetime1">
              <a:rPr lang="fr-FR" smtClean="0"/>
              <a:t>21/01/202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9135534" y="6293225"/>
            <a:ext cx="1943036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33834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bg>
      <p:bgPr>
        <a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412052" y="152346"/>
            <a:ext cx="1956189" cy="325404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133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fr-FR"/>
              <a:t>Chapitre 1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750025" y="1492821"/>
            <a:ext cx="10516839" cy="4525963"/>
          </a:xfrm>
          <a:prstGeom prst="rect">
            <a:avLst/>
          </a:prstGeom>
        </p:spPr>
        <p:txBody>
          <a:bodyPr/>
          <a:lstStyle>
            <a:lvl1pPr marL="457178" indent="-457178">
              <a:buSzPct val="120000"/>
              <a:buFontTx/>
              <a:buBlip>
                <a:blip r:embed="rId4"/>
              </a:buBlip>
              <a:defRPr sz="3467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  <a:lvl2pPr>
              <a:defRPr sz="2667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2pPr>
            <a:lvl3pPr>
              <a:defRPr sz="240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3pPr>
            <a:lvl4pPr>
              <a:defRPr sz="21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4pPr>
            <a:lvl5pPr>
              <a:defRPr sz="2133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5pPr>
          </a:lstStyle>
          <a:p>
            <a:pPr lvl="0"/>
            <a:r>
              <a:rPr lang="fr-FR"/>
              <a:t> Contenu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423230" y="477750"/>
            <a:ext cx="4743207" cy="36376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lvl="0"/>
            <a:r>
              <a:rPr lang="fr-FR"/>
              <a:t>RAPPEL DU TITRE DU CHAPITRE</a:t>
            </a:r>
          </a:p>
        </p:txBody>
      </p:sp>
    </p:spTree>
    <p:extLst>
      <p:ext uri="{BB962C8B-B14F-4D97-AF65-F5344CB8AC3E}">
        <p14:creationId xmlns:p14="http://schemas.microsoft.com/office/powerpoint/2010/main" val="19019271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Chapitre">
    <p:bg>
      <p:bgPr>
        <a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41006" y="1984431"/>
            <a:ext cx="5706732" cy="1722116"/>
          </a:xfrm>
          <a:prstGeom prst="rect">
            <a:avLst/>
          </a:prstGeom>
        </p:spPr>
        <p:txBody>
          <a:bodyPr tIns="0" bIns="0" anchor="t">
            <a:normAutofit/>
          </a:bodyPr>
          <a:lstStyle>
            <a:lvl1pPr algn="l">
              <a:lnSpc>
                <a:spcPts val="5040"/>
              </a:lnSpc>
              <a:defRPr sz="4533" b="0" cap="all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fr-FR"/>
              <a:t>PLACEZ LE TITRE </a:t>
            </a:r>
            <a:br>
              <a:rPr lang="fr-FR"/>
            </a:br>
            <a:r>
              <a:rPr lang="fr-FR"/>
              <a:t>DU CHAPITRE ICI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Sous-titre 2"/>
          <p:cNvSpPr>
            <a:spLocks noGrp="1"/>
          </p:cNvSpPr>
          <p:nvPr>
            <p:ph type="subTitle" idx="13" hasCustomPrompt="1"/>
          </p:nvPr>
        </p:nvSpPr>
        <p:spPr>
          <a:xfrm>
            <a:off x="4477495" y="1369709"/>
            <a:ext cx="4251380" cy="533480"/>
          </a:xfrm>
          <a:prstGeom prst="rect">
            <a:avLst/>
          </a:prstGeom>
        </p:spPr>
        <p:txBody>
          <a:bodyPr wrap="square" lIns="0" tIns="0" bIns="0">
            <a:spAutoFit/>
          </a:bodyPr>
          <a:lstStyle>
            <a:lvl1pPr marL="457178" indent="-457178" algn="l">
              <a:buSzPct val="120000"/>
              <a:buFontTx/>
              <a:buBlip>
                <a:blip r:embed="rId3"/>
              </a:buBlip>
              <a:defRPr sz="3467" baseline="0">
                <a:solidFill>
                  <a:srgbClr val="3198E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 Chapitre 1</a:t>
            </a:r>
          </a:p>
        </p:txBody>
      </p:sp>
    </p:spTree>
    <p:extLst>
      <p:ext uri="{BB962C8B-B14F-4D97-AF65-F5344CB8AC3E}">
        <p14:creationId xmlns:p14="http://schemas.microsoft.com/office/powerpoint/2010/main" val="19900656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ction">
    <p:bg>
      <p:bgPr>
        <a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5BBF241E-D95D-F947-BD40-BA0B1092A59D}" type="datetimeFigureOut">
              <a:rPr lang="fr-FR" smtClean="0"/>
              <a:pPr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67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604F9983-238B-5A48-87F7-46742A2BA19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 hasCustomPrompt="1"/>
          </p:nvPr>
        </p:nvSpPr>
        <p:spPr>
          <a:xfrm>
            <a:off x="3543124" y="3042665"/>
            <a:ext cx="4413249" cy="604536"/>
          </a:xfrm>
          <a:prstGeom prst="rect">
            <a:avLst/>
          </a:prstGeom>
        </p:spPr>
        <p:txBody>
          <a:bodyPr vert="horz" lIns="0" bIns="0"/>
          <a:lstStyle>
            <a:lvl1pPr marL="457178" indent="-457178">
              <a:buSzPct val="120000"/>
              <a:buFontTx/>
              <a:buBlip>
                <a:blip r:embed="rId4"/>
              </a:buBlip>
              <a:defRPr sz="3467">
                <a:solidFill>
                  <a:srgbClr val="3198E5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fr-FR"/>
              <a:t> Chapitre 1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5" hasCustomPrompt="1"/>
          </p:nvPr>
        </p:nvSpPr>
        <p:spPr>
          <a:xfrm>
            <a:off x="4224810" y="3694319"/>
            <a:ext cx="5601932" cy="1692613"/>
          </a:xfrm>
          <a:prstGeom prst="rect">
            <a:avLst/>
          </a:prstGeom>
        </p:spPr>
        <p:txBody>
          <a:bodyPr vert="horz" lIns="0" tIns="0" bIns="0"/>
          <a:lstStyle>
            <a:lvl1pPr marL="0" indent="0">
              <a:lnSpc>
                <a:spcPts val="5120"/>
              </a:lnSpc>
              <a:buFontTx/>
              <a:buNone/>
              <a:defRPr sz="4533" baseline="0">
                <a:solidFill>
                  <a:srgbClr val="123A6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pPr lvl="0"/>
            <a:r>
              <a:rPr lang="fr-FR"/>
              <a:t>PLACEZ LE TITRE DU CHAPITRE ICI</a:t>
            </a:r>
          </a:p>
        </p:txBody>
      </p:sp>
    </p:spTree>
    <p:extLst>
      <p:ext uri="{BB962C8B-B14F-4D97-AF65-F5344CB8AC3E}">
        <p14:creationId xmlns:p14="http://schemas.microsoft.com/office/powerpoint/2010/main" val="133259967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40F153-7B64-2E4F-AC49-9C4A095294CF}" type="datetime1">
              <a:rPr lang="fr-FR" smtClean="0"/>
              <a:t>21/0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59533" y="6293230"/>
            <a:ext cx="660400" cy="365125"/>
          </a:xfrm>
          <a:prstGeom prst="rect">
            <a:avLst/>
          </a:prstGeom>
        </p:spPr>
        <p:txBody>
          <a:bodyPr/>
          <a:lstStyle/>
          <a:p>
            <a:fld id="{E0E48C36-60D3-5A43-AA48-41867AFDBEE6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/>
          </p:nvPr>
        </p:nvSpPr>
        <p:spPr>
          <a:xfrm>
            <a:off x="1147438" y="1833938"/>
            <a:ext cx="9912351" cy="397986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7807112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189"/>
            <a:fld id="{4D3CE5B4-EEF1-4334-867D-FD88E491FCE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457189"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7189"/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634133" y="6293226"/>
            <a:ext cx="745067" cy="365125"/>
          </a:xfrm>
          <a:prstGeom prst="rect">
            <a:avLst/>
          </a:prstGeom>
        </p:spPr>
        <p:txBody>
          <a:bodyPr/>
          <a:lstStyle/>
          <a:p>
            <a:pPr defTabSz="457189"/>
            <a:fld id="{E0E48C36-60D3-5A43-AA48-41867AFDBEE6}" type="slidenum">
              <a:rPr lang="fr-FR" smtClean="0"/>
              <a:pPr defTabSz="457189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389941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CA1845-912B-4C02-B4FD-747AE6527549}" type="datetimeFigureOut">
              <a:rPr lang="fr-FR" smtClean="0"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B613B7-5618-4207-BB68-5D1D836433F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158360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08026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608026"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608026"/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08026"/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608026"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titre 1">
            <a:extLst>
              <a:ext uri="{FF2B5EF4-FFF2-40B4-BE49-F238E27FC236}">
                <a16:creationId xmlns:a16="http://schemas.microsoft.com/office/drawing/2014/main" id="{5AA24A42-148E-45A2-B2DA-85AE65C9E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473" y="170720"/>
            <a:ext cx="1101138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FD25BDBE-A128-4C0D-9625-1113B2CF2152}"/>
              </a:ext>
            </a:extLst>
          </p:cNvPr>
          <p:cNvCxnSpPr>
            <a:cxnSpLocks/>
          </p:cNvCxnSpPr>
          <p:nvPr userDrawn="1"/>
        </p:nvCxnSpPr>
        <p:spPr>
          <a:xfrm>
            <a:off x="609601" y="1059165"/>
            <a:ext cx="10999260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6118BFBA-8013-4D62-B67E-AB02B49F5B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1" y="1221317"/>
            <a:ext cx="11013017" cy="4800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1212964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386376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6863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456863"/>
              <a:t>21/01/20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456863"/>
            <a:r>
              <a:rPr lang="fr-FR"/>
              <a:t> 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6863"/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 defTabSz="456863"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71674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layou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1804" y="752475"/>
            <a:ext cx="11286065" cy="344711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431804" y="1675615"/>
            <a:ext cx="11286065" cy="417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  <a:lvl6pPr>
              <a:spcBef>
                <a:spcPts val="0"/>
              </a:spcBef>
              <a:spcAft>
                <a:spcPts val="600"/>
              </a:spcAft>
              <a:defRPr/>
            </a:lvl6pPr>
            <a:lvl7pPr>
              <a:spcBef>
                <a:spcPts val="0"/>
              </a:spcBef>
              <a:spcAft>
                <a:spcPts val="600"/>
              </a:spcAft>
              <a:defRPr/>
            </a:lvl7pPr>
            <a:lvl8pPr>
              <a:spcBef>
                <a:spcPts val="0"/>
              </a:spcBef>
              <a:spcAft>
                <a:spcPts val="600"/>
              </a:spcAft>
              <a:defRPr/>
            </a:lvl8pPr>
            <a:lvl9pPr>
              <a:spcBef>
                <a:spcPts val="0"/>
              </a:spcBef>
              <a:spcAft>
                <a:spcPts val="600"/>
              </a:spcAft>
              <a:defRPr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4" y="1104346"/>
            <a:ext cx="11286065" cy="2215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[SUBTITLE]</a:t>
            </a:r>
          </a:p>
        </p:txBody>
      </p:sp>
    </p:spTree>
    <p:extLst>
      <p:ext uri="{BB962C8B-B14F-4D97-AF65-F5344CB8AC3E}">
        <p14:creationId xmlns:p14="http://schemas.microsoft.com/office/powerpoint/2010/main" val="628545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4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image" Target="../media/image21.png"/><Relationship Id="rId2" Type="http://schemas.openxmlformats.org/officeDocument/2006/relationships/slideLayout" Target="../slideLayouts/slideLayout106.xml"/><Relationship Id="rId16" Type="http://schemas.openxmlformats.org/officeDocument/2006/relationships/tags" Target="../tags/tag78.xml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14.xml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ags" Target="../tags/tag89.xml"/><Relationship Id="rId2" Type="http://schemas.openxmlformats.org/officeDocument/2006/relationships/slideLayout" Target="../slideLayouts/slideLayout120.xml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theme" Target="../theme/theme11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22.pn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slideLayout" Target="../slideLayouts/slideLayout131.xml"/><Relationship Id="rId7" Type="http://schemas.openxmlformats.org/officeDocument/2006/relationships/theme" Target="../theme/theme12.xml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image" Target="../media/image34.png"/><Relationship Id="rId5" Type="http://schemas.openxmlformats.org/officeDocument/2006/relationships/slideLayout" Target="../slideLayouts/slideLayout13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32.xml"/><Relationship Id="rId9" Type="http://schemas.openxmlformats.org/officeDocument/2006/relationships/image" Target="../media/image33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37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3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138.xml"/><Relationship Id="rId9" Type="http://schemas.openxmlformats.org/officeDocument/2006/relationships/image" Target="../media/image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43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image" Target="../media/image2.png"/><Relationship Id="rId5" Type="http://schemas.openxmlformats.org/officeDocument/2006/relationships/image" Target="../media/image8.png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4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image" Target="../media/image8.png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147.xml"/><Relationship Id="rId9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tags" Target="../tags/tag108.xml"/><Relationship Id="rId26" Type="http://schemas.openxmlformats.org/officeDocument/2006/relationships/tags" Target="../tags/tag116.xml"/><Relationship Id="rId39" Type="http://schemas.openxmlformats.org/officeDocument/2006/relationships/tags" Target="../tags/tag129.xml"/><Relationship Id="rId21" Type="http://schemas.openxmlformats.org/officeDocument/2006/relationships/tags" Target="../tags/tag111.xml"/><Relationship Id="rId34" Type="http://schemas.openxmlformats.org/officeDocument/2006/relationships/tags" Target="../tags/tag124.xml"/><Relationship Id="rId42" Type="http://schemas.openxmlformats.org/officeDocument/2006/relationships/image" Target="../media/image43.emf"/><Relationship Id="rId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9.xml"/><Relationship Id="rId16" Type="http://schemas.openxmlformats.org/officeDocument/2006/relationships/theme" Target="../theme/theme16.xml"/><Relationship Id="rId20" Type="http://schemas.openxmlformats.org/officeDocument/2006/relationships/tags" Target="../tags/tag110.xml"/><Relationship Id="rId29" Type="http://schemas.openxmlformats.org/officeDocument/2006/relationships/tags" Target="../tags/tag119.xml"/><Relationship Id="rId41" Type="http://schemas.openxmlformats.org/officeDocument/2006/relationships/oleObject" Target="../embeddings/oleObject2.bin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tags" Target="../tags/tag114.xml"/><Relationship Id="rId32" Type="http://schemas.openxmlformats.org/officeDocument/2006/relationships/tags" Target="../tags/tag122.xml"/><Relationship Id="rId37" Type="http://schemas.openxmlformats.org/officeDocument/2006/relationships/tags" Target="../tags/tag127.xml"/><Relationship Id="rId40" Type="http://schemas.openxmlformats.org/officeDocument/2006/relationships/tags" Target="../tags/tag130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tags" Target="../tags/tag113.xml"/><Relationship Id="rId28" Type="http://schemas.openxmlformats.org/officeDocument/2006/relationships/tags" Target="../tags/tag118.xml"/><Relationship Id="rId36" Type="http://schemas.openxmlformats.org/officeDocument/2006/relationships/tags" Target="../tags/tag126.xml"/><Relationship Id="rId10" Type="http://schemas.openxmlformats.org/officeDocument/2006/relationships/slideLayout" Target="../slideLayouts/slideLayout157.xml"/><Relationship Id="rId19" Type="http://schemas.openxmlformats.org/officeDocument/2006/relationships/tags" Target="../tags/tag109.xml"/><Relationship Id="rId31" Type="http://schemas.openxmlformats.org/officeDocument/2006/relationships/tags" Target="../tags/tag121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tags" Target="../tags/tag112.xml"/><Relationship Id="rId27" Type="http://schemas.openxmlformats.org/officeDocument/2006/relationships/tags" Target="../tags/tag117.xml"/><Relationship Id="rId30" Type="http://schemas.openxmlformats.org/officeDocument/2006/relationships/tags" Target="../tags/tag120.xml"/><Relationship Id="rId35" Type="http://schemas.openxmlformats.org/officeDocument/2006/relationships/tags" Target="../tags/tag125.xml"/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9.xml"/><Relationship Id="rId17" Type="http://schemas.openxmlformats.org/officeDocument/2006/relationships/vmlDrawing" Target="../drawings/vmlDrawing2.vml"/><Relationship Id="rId25" Type="http://schemas.openxmlformats.org/officeDocument/2006/relationships/tags" Target="../tags/tag115.xml"/><Relationship Id="rId33" Type="http://schemas.openxmlformats.org/officeDocument/2006/relationships/tags" Target="../tags/tag123.xml"/><Relationship Id="rId38" Type="http://schemas.openxmlformats.org/officeDocument/2006/relationships/tags" Target="../tags/tag12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4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51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3.xml"/><Relationship Id="rId1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ags" Target="../tags/tag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slideLayout" Target="../slideLayouts/slideLayout69.xml"/><Relationship Id="rId7" Type="http://schemas.openxmlformats.org/officeDocument/2006/relationships/theme" Target="../theme/theme5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7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8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7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80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8.xml"/><Relationship Id="rId21" Type="http://schemas.openxmlformats.org/officeDocument/2006/relationships/tags" Target="../tags/tag62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3" y="5722341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080729" y="206470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8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3234CE42-D8FD-490E-A150-668892ABC4A7}" type="datetime1">
              <a:rPr lang="fr-FR" smtClean="0"/>
              <a:pPr/>
              <a:t>21/0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>
          <a:xfrm>
            <a:off x="0" y="6356351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1146548" y="908720"/>
            <a:ext cx="9913237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69600" y="6293225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4834654" y="6510453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  <a:latin typeface="Arial Narrow" panose="020B0606020202030204" pitchFamily="34" charset="0"/>
              </a:rPr>
              <a:t>Propriété PFA- reproduction interdite </a:t>
            </a:r>
            <a:r>
              <a:rPr lang="fr-FR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9D9FC14D-E903-4DF4-B727-37BB9EB5461F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3646485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50" r:id="rId3"/>
    <p:sldLayoutId id="2147483651" r:id="rId4"/>
    <p:sldLayoutId id="2147483652" r:id="rId5"/>
    <p:sldLayoutId id="2147483660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4819" r:id="rId14"/>
    <p:sldLayoutId id="2147484820" r:id="rId15"/>
    <p:sldLayoutId id="2147484822" r:id="rId16"/>
    <p:sldLayoutId id="2147484832" r:id="rId17"/>
    <p:sldLayoutId id="2147484833" r:id="rId18"/>
    <p:sldLayoutId id="2147484834" r:id="rId19"/>
    <p:sldLayoutId id="2147484839" r:id="rId20"/>
    <p:sldLayoutId id="2147484841" r:id="rId21"/>
    <p:sldLayoutId id="2147485001" r:id="rId22"/>
    <p:sldLayoutId id="2147485004" r:id="rId23"/>
    <p:sldLayoutId id="2147485013" r:id="rId24"/>
    <p:sldLayoutId id="2147485318" r:id="rId25"/>
    <p:sldLayoutId id="2147486962" r:id="rId26"/>
    <p:sldLayoutId id="2147488232" r:id="rId27"/>
    <p:sldLayoutId id="2147489569" r:id="rId28"/>
    <p:sldLayoutId id="2147489576" r:id="rId29"/>
    <p:sldLayoutId id="2147489578" r:id="rId30"/>
    <p:sldLayoutId id="2147489580" r:id="rId31"/>
    <p:sldLayoutId id="2147489581" r:id="rId32"/>
    <p:sldLayoutId id="2147489583" r:id="rId33"/>
    <p:sldLayoutId id="2147489584" r:id="rId34"/>
    <p:sldLayoutId id="2147489585" r:id="rId35"/>
    <p:sldLayoutId id="2147489586" r:id="rId36"/>
    <p:sldLayoutId id="2147489587" r:id="rId3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SzPct val="25000"/>
        <a:buFontTx/>
        <a:buBlip>
          <a:blip r:embed="rId41"/>
        </a:buBlip>
        <a:defRPr sz="2200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212400" indent="-212400" algn="l" defTabSz="457200" rtl="0" eaLnBrk="1" latinLnBrk="0" hangingPunct="1">
        <a:spcBef>
          <a:spcPts val="960"/>
        </a:spcBef>
        <a:buSzPct val="100000"/>
        <a:buFontTx/>
        <a:buBlip>
          <a:blip r:embed="rId42"/>
        </a:buBlip>
        <a:defRPr sz="1500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424800" indent="-230400" algn="l" defTabSz="457200" rtl="0" eaLnBrk="1" latinLnBrk="0" hangingPunct="1">
        <a:spcBef>
          <a:spcPts val="936"/>
        </a:spcBef>
        <a:buSzPct val="100000"/>
        <a:buFontTx/>
        <a:buBlip>
          <a:blip r:embed="rId43"/>
        </a:buBlip>
        <a:defRPr sz="1400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522000" indent="-122400" algn="l" defTabSz="457200" rtl="0" eaLnBrk="1" latinLnBrk="0" hangingPunct="1">
        <a:spcBef>
          <a:spcPts val="600"/>
        </a:spcBef>
        <a:buClr>
          <a:srgbClr val="312782"/>
        </a:buClr>
        <a:buSzPct val="100000"/>
        <a:buFont typeface="Lucida Grande"/>
        <a:buChar char="•"/>
        <a:defRPr sz="1300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540000" indent="-122400" algn="l" defTabSz="457200" rtl="0" eaLnBrk="1" latinLnBrk="0" hangingPunct="1">
        <a:spcBef>
          <a:spcPts val="600"/>
        </a:spcBef>
        <a:buFont typeface="Lucida Grande"/>
        <a:buChar char="&gt;"/>
        <a:defRPr sz="1100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448" y="5725224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6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1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</a:rPr>
              <a:t>Propriété PFA- reproduction interdite</a:t>
            </a:r>
            <a:endParaRPr lang="fr-FR" sz="1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813331E8-06C2-499E-AF0E-51CDDCB92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3EF6E422-C21F-4FC7-969F-68CD059FCAF4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4130865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30" r:id="rId1"/>
    <p:sldLayoutId id="2147489331" r:id="rId2"/>
    <p:sldLayoutId id="2147489332" r:id="rId3"/>
    <p:sldLayoutId id="2147489333" r:id="rId4"/>
    <p:sldLayoutId id="2147489334" r:id="rId5"/>
    <p:sldLayoutId id="2147489335" r:id="rId6"/>
    <p:sldLayoutId id="2147489336" r:id="rId7"/>
    <p:sldLayoutId id="2147489337" r:id="rId8"/>
    <p:sldLayoutId id="2147489338" r:id="rId9"/>
    <p:sldLayoutId id="2147489339" r:id="rId10"/>
    <p:sldLayoutId id="2147489340" r:id="rId11"/>
    <p:sldLayoutId id="2147489342" r:id="rId12"/>
    <p:sldLayoutId id="2147489343" r:id="rId13"/>
    <p:sldLayoutId id="2147489344" r:id="rId14"/>
  </p:sldLayoutIdLst>
  <p:hf hdr="0" dt="0"/>
  <p:txStyles>
    <p:titleStyle>
      <a:lvl1pPr algn="l" defTabSz="342891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891" rtl="0" eaLnBrk="1" latinLnBrk="0" hangingPunct="1">
        <a:spcBef>
          <a:spcPct val="20000"/>
        </a:spcBef>
        <a:buSzPct val="25000"/>
        <a:buFontTx/>
        <a:buBlip>
          <a:blip r:embed="rId18"/>
        </a:buBlip>
        <a:defRPr sz="1651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296" indent="-159296" algn="l" defTabSz="342891" rtl="0" eaLnBrk="1" latinLnBrk="0" hangingPunct="1">
        <a:spcBef>
          <a:spcPts val="720"/>
        </a:spcBef>
        <a:buSzPct val="100000"/>
        <a:buFontTx/>
        <a:buBlip>
          <a:blip r:embed="rId19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592" indent="-172796" algn="l" defTabSz="342891" rtl="0" eaLnBrk="1" latinLnBrk="0" hangingPunct="1">
        <a:spcBef>
          <a:spcPts val="703"/>
        </a:spcBef>
        <a:buSzPct val="100000"/>
        <a:buFontTx/>
        <a:buBlip>
          <a:blip r:embed="rId20"/>
        </a:buBlip>
        <a:defRPr sz="1051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490" indent="-91798" algn="l" defTabSz="342891" rtl="0" eaLnBrk="1" latinLnBrk="0" hangingPunct="1">
        <a:spcBef>
          <a:spcPts val="451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4990" indent="-91798" algn="l" defTabSz="342891" rtl="0" eaLnBrk="1" latinLnBrk="0" hangingPunct="1">
        <a:spcBef>
          <a:spcPts val="451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04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448" y="5725224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1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</a:rPr>
              <a:t>Propriété PFA- reproduction interdite</a:t>
            </a:r>
            <a:endParaRPr lang="fr-FR" sz="1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813331E8-06C2-499E-AF0E-51CDDCB92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80476D10-0C8E-43B1-9BF1-AB0206647BD4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1549978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46" r:id="rId1"/>
    <p:sldLayoutId id="2147489347" r:id="rId2"/>
    <p:sldLayoutId id="2147489348" r:id="rId3"/>
    <p:sldLayoutId id="2147489349" r:id="rId4"/>
    <p:sldLayoutId id="2147489350" r:id="rId5"/>
    <p:sldLayoutId id="2147489351" r:id="rId6"/>
    <p:sldLayoutId id="2147489352" r:id="rId7"/>
    <p:sldLayoutId id="2147489353" r:id="rId8"/>
    <p:sldLayoutId id="2147489354" r:id="rId9"/>
    <p:sldLayoutId id="2147489355" r:id="rId10"/>
  </p:sldLayoutIdLst>
  <p:hf hdr="0" dt="0"/>
  <p:txStyles>
    <p:titleStyle>
      <a:lvl1pPr algn="l" defTabSz="342891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891" rtl="0" eaLnBrk="1" latinLnBrk="0" hangingPunct="1">
        <a:spcBef>
          <a:spcPct val="20000"/>
        </a:spcBef>
        <a:buSzPct val="25000"/>
        <a:buFontTx/>
        <a:buBlip>
          <a:blip r:embed="rId14"/>
        </a:buBlip>
        <a:defRPr sz="1651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296" indent="-159296" algn="l" defTabSz="342891" rtl="0" eaLnBrk="1" latinLnBrk="0" hangingPunct="1">
        <a:spcBef>
          <a:spcPts val="720"/>
        </a:spcBef>
        <a:buSzPct val="100000"/>
        <a:buFontTx/>
        <a:buBlip>
          <a:blip r:embed="rId15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592" indent="-172796" algn="l" defTabSz="342891" rtl="0" eaLnBrk="1" latinLnBrk="0" hangingPunct="1">
        <a:spcBef>
          <a:spcPts val="703"/>
        </a:spcBef>
        <a:buSzPct val="100000"/>
        <a:buFontTx/>
        <a:buBlip>
          <a:blip r:embed="rId16"/>
        </a:buBlip>
        <a:defRPr sz="1051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490" indent="-91798" algn="l" defTabSz="342891" rtl="0" eaLnBrk="1" latinLnBrk="0" hangingPunct="1">
        <a:spcBef>
          <a:spcPts val="451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4990" indent="-91798" algn="l" defTabSz="342891" rtl="0" eaLnBrk="1" latinLnBrk="0" hangingPunct="1">
        <a:spcBef>
          <a:spcPts val="451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04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448" y="5725224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33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1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</a:rPr>
              <a:t>Propriété PFA- reproduction interdite</a:t>
            </a:r>
            <a:endParaRPr lang="fr-FR" sz="1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813331E8-06C2-499E-AF0E-51CDDCB92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77983766-31A5-4993-A039-315D3EBCFCA9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177664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72" r:id="rId1"/>
    <p:sldLayoutId id="2147489474" r:id="rId2"/>
    <p:sldLayoutId id="2147489475" r:id="rId3"/>
    <p:sldLayoutId id="2147489476" r:id="rId4"/>
    <p:sldLayoutId id="2147489477" r:id="rId5"/>
    <p:sldLayoutId id="2147489478" r:id="rId6"/>
  </p:sldLayoutIdLst>
  <p:hf hdr="0" dt="0"/>
  <p:txStyles>
    <p:titleStyle>
      <a:lvl1pPr algn="l" defTabSz="342891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891" rtl="0" eaLnBrk="1" latinLnBrk="0" hangingPunct="1">
        <a:spcBef>
          <a:spcPct val="20000"/>
        </a:spcBef>
        <a:buSzPct val="25000"/>
        <a:buFontTx/>
        <a:buBlip>
          <a:blip r:embed="rId10"/>
        </a:buBlip>
        <a:defRPr sz="1651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296" indent="-159296" algn="l" defTabSz="342891" rtl="0" eaLnBrk="1" latinLnBrk="0" hangingPunct="1">
        <a:spcBef>
          <a:spcPts val="720"/>
        </a:spcBef>
        <a:buSzPct val="100000"/>
        <a:buFontTx/>
        <a:buBlip>
          <a:blip r:embed="rId11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592" indent="-172796" algn="l" defTabSz="342891" rtl="0" eaLnBrk="1" latinLnBrk="0" hangingPunct="1">
        <a:spcBef>
          <a:spcPts val="703"/>
        </a:spcBef>
        <a:buSzPct val="100000"/>
        <a:buFontTx/>
        <a:buBlip>
          <a:blip r:embed="rId12"/>
        </a:buBlip>
        <a:defRPr sz="1051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490" indent="-91798" algn="l" defTabSz="342891" rtl="0" eaLnBrk="1" latinLnBrk="0" hangingPunct="1">
        <a:spcBef>
          <a:spcPts val="451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4990" indent="-91798" algn="l" defTabSz="342891" rtl="0" eaLnBrk="1" latinLnBrk="0" hangingPunct="1">
        <a:spcBef>
          <a:spcPts val="451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04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240000"/>
            <a:ext cx="9913237" cy="8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604802"/>
            <a:ext cx="9913237" cy="491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1146548" y="1200000"/>
            <a:ext cx="9913237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</p:spPr>
      </p:pic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10B61BAC-C7DA-4409-9741-6179B6DEEF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DAF75D33-5A66-416B-B3D8-2545EE59F5B0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29CA8B8-F2F0-4F5C-B504-C08053D12D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r>
              <a:rPr lang="fr-FR">
                <a:solidFill>
                  <a:prstClr val="black">
                    <a:tint val="75000"/>
                  </a:prstClr>
                </a:solidFill>
                <a:cs typeface="Arial" charset="0"/>
              </a:rPr>
              <a:t>Propriété PFA - Reproduction interdit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0AF6A681-25BE-4A4B-9077-39671C27E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  <p:sp>
        <p:nvSpPr>
          <p:cNvPr id="4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AE6E01B1-8A83-4563-A60F-17E96AF35B10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4256575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484" r:id="rId1"/>
    <p:sldLayoutId id="2147489485" r:id="rId2"/>
    <p:sldLayoutId id="2147489486" r:id="rId3"/>
    <p:sldLayoutId id="2147489487" r:id="rId4"/>
    <p:sldLayoutId id="2147489488" r:id="rId5"/>
    <p:sldLayoutId id="2147489489" r:id="rId6"/>
  </p:sldLayoutIdLst>
  <p:hf hdr="0"/>
  <p:txStyles>
    <p:titleStyle>
      <a:lvl1pPr algn="ctr" defTabSz="608383" rtl="0" eaLnBrk="1" latinLnBrk="0" hangingPunct="1">
        <a:spcBef>
          <a:spcPct val="0"/>
        </a:spcBef>
        <a:buNone/>
        <a:defRPr sz="24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608383" rtl="0" eaLnBrk="1" latinLnBrk="0" hangingPunct="1">
        <a:spcBef>
          <a:spcPct val="20000"/>
        </a:spcBef>
        <a:buSzPct val="25000"/>
        <a:buFontTx/>
        <a:buBlip>
          <a:blip r:embed="rId9"/>
        </a:buBlip>
        <a:defRPr sz="2933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282680" indent="-282680" algn="l" defTabSz="608383" rtl="0" eaLnBrk="1" latinLnBrk="0" hangingPunct="1">
        <a:spcBef>
          <a:spcPts val="1280"/>
        </a:spcBef>
        <a:buSzPct val="100000"/>
        <a:buFontTx/>
        <a:buBlip>
          <a:blip r:embed="rId10"/>
        </a:buBlip>
        <a:defRPr sz="2000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565309" indent="-306576" algn="l" defTabSz="608383" rtl="0" eaLnBrk="1" latinLnBrk="0" hangingPunct="1">
        <a:spcBef>
          <a:spcPts val="1248"/>
        </a:spcBef>
        <a:buSzPct val="100000"/>
        <a:buFontTx/>
        <a:buBlip>
          <a:blip r:embed="rId11"/>
        </a:buBlip>
        <a:defRPr sz="1867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694648" indent="-162888" algn="l" defTabSz="608383" rtl="0" eaLnBrk="1" latinLnBrk="0" hangingPunct="1">
        <a:spcBef>
          <a:spcPts val="800"/>
        </a:spcBef>
        <a:buClr>
          <a:srgbClr val="312782"/>
        </a:buClr>
        <a:buSzPct val="100000"/>
        <a:buFont typeface="Lucida Grande"/>
        <a:buChar char="•"/>
        <a:defRPr sz="1733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718597" indent="-162888" algn="l" defTabSz="608383" rtl="0" eaLnBrk="1" latinLnBrk="0" hangingPunct="1">
        <a:spcBef>
          <a:spcPts val="800"/>
        </a:spcBef>
        <a:buFont typeface="Lucida Grande"/>
        <a:buChar char="&gt;"/>
        <a:defRPr sz="1467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3346248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704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3097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512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83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4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6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9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2072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427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886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329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240000"/>
            <a:ext cx="9913237" cy="816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604802"/>
            <a:ext cx="9913237" cy="491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1146548" y="1200000"/>
            <a:ext cx="9913237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</p:spPr>
      </p:pic>
      <p:sp>
        <p:nvSpPr>
          <p:cNvPr id="6" name="Espace réservé de la date 2">
            <a:extLst>
              <a:ext uri="{FF2B5EF4-FFF2-40B4-BE49-F238E27FC236}">
                <a16:creationId xmlns:a16="http://schemas.microsoft.com/office/drawing/2014/main" id="{66FA5AB2-0957-4CD3-A65A-D8F13D4BB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 algn="l"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4">
            <a:extLst>
              <a:ext uri="{FF2B5EF4-FFF2-40B4-BE49-F238E27FC236}">
                <a16:creationId xmlns:a16="http://schemas.microsoft.com/office/drawing/2014/main" id="{DB70D0D9-4234-43F7-A7AD-D2396B63B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lvl1pPr algn="ctr"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71AB628C-63B9-4939-B2ED-6EF6A809C925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1130094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13" r:id="rId1"/>
    <p:sldLayoutId id="2147489514" r:id="rId2"/>
    <p:sldLayoutId id="2147489515" r:id="rId3"/>
  </p:sldLayoutIdLst>
  <p:hf sldNum="0" hdr="0" dt="0"/>
  <p:txStyles>
    <p:titleStyle>
      <a:lvl1pPr algn="l" defTabSz="608383" rtl="0" eaLnBrk="1" latinLnBrk="0" hangingPunct="1">
        <a:spcBef>
          <a:spcPct val="0"/>
        </a:spcBef>
        <a:buNone/>
        <a:defRPr sz="32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608383" rtl="0" eaLnBrk="1" latinLnBrk="0" hangingPunct="1">
        <a:spcBef>
          <a:spcPct val="20000"/>
        </a:spcBef>
        <a:buSzPct val="25000"/>
        <a:buFontTx/>
        <a:buBlip>
          <a:blip r:embed="rId6"/>
        </a:buBlip>
        <a:defRPr sz="2400" b="1" i="0" kern="1200" baseline="0">
          <a:solidFill>
            <a:srgbClr val="31278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82680" indent="-282680" algn="l" defTabSz="608383" rtl="0" eaLnBrk="1" latinLnBrk="0" hangingPunct="1">
        <a:spcBef>
          <a:spcPts val="1280"/>
        </a:spcBef>
        <a:buSzPct val="100000"/>
        <a:buFontTx/>
        <a:buBlip>
          <a:blip r:embed="rId7"/>
        </a:buBlip>
        <a:defRPr sz="1600" kern="1200">
          <a:solidFill>
            <a:srgbClr val="31278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65309" indent="-306576" algn="l" defTabSz="608383" rtl="0" eaLnBrk="1" latinLnBrk="0" hangingPunct="1">
        <a:spcBef>
          <a:spcPts val="1248"/>
        </a:spcBef>
        <a:buSzPct val="100000"/>
        <a:buFontTx/>
        <a:buBlip>
          <a:blip r:embed="rId8"/>
        </a:buBlip>
        <a:defRPr sz="1867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694648" indent="-162888" algn="l" defTabSz="608383" rtl="0" eaLnBrk="1" latinLnBrk="0" hangingPunct="1">
        <a:spcBef>
          <a:spcPts val="800"/>
        </a:spcBef>
        <a:buClr>
          <a:srgbClr val="312782"/>
        </a:buClr>
        <a:buSzPct val="100000"/>
        <a:buFont typeface="Lucida Grande"/>
        <a:buChar char="•"/>
        <a:defRPr sz="1733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718597" indent="-162888" algn="l" defTabSz="608383" rtl="0" eaLnBrk="1" latinLnBrk="0" hangingPunct="1">
        <a:spcBef>
          <a:spcPts val="800"/>
        </a:spcBef>
        <a:buFont typeface="Lucida Grande"/>
        <a:buChar char="&gt;"/>
        <a:defRPr sz="1467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3346248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704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3097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512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83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4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6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9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2072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427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886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329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240000"/>
            <a:ext cx="9913237" cy="816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604802"/>
            <a:ext cx="9913237" cy="491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1146548" y="1200000"/>
            <a:ext cx="9913237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</p:spPr>
      </p:pic>
      <p:sp>
        <p:nvSpPr>
          <p:cNvPr id="6" name="Espace réservé de la date 2">
            <a:extLst>
              <a:ext uri="{FF2B5EF4-FFF2-40B4-BE49-F238E27FC236}">
                <a16:creationId xmlns:a16="http://schemas.microsoft.com/office/drawing/2014/main" id="{66FA5AB2-0957-4CD3-A65A-D8F13D4BB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 algn="l"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4">
            <a:extLst>
              <a:ext uri="{FF2B5EF4-FFF2-40B4-BE49-F238E27FC236}">
                <a16:creationId xmlns:a16="http://schemas.microsoft.com/office/drawing/2014/main" id="{DB70D0D9-4234-43F7-A7AD-D2396B63B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lvl1pPr algn="ctr"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0BEDD29D-B56A-4247-8F9A-DB1ECEE1738F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3041829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17" r:id="rId1"/>
    <p:sldLayoutId id="2147489518" r:id="rId2"/>
    <p:sldLayoutId id="2147489519" r:id="rId3"/>
    <p:sldLayoutId id="2147489520" r:id="rId4"/>
  </p:sldLayoutIdLst>
  <p:hf hdr="0" ftr="0" dt="0"/>
  <p:txStyles>
    <p:titleStyle>
      <a:lvl1pPr algn="l" defTabSz="608383" rtl="0" eaLnBrk="1" latinLnBrk="0" hangingPunct="1">
        <a:spcBef>
          <a:spcPct val="0"/>
        </a:spcBef>
        <a:buNone/>
        <a:defRPr sz="32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608383" rtl="0" eaLnBrk="1" latinLnBrk="0" hangingPunct="1">
        <a:spcBef>
          <a:spcPct val="20000"/>
        </a:spcBef>
        <a:buSzPct val="25000"/>
        <a:buFontTx/>
        <a:buBlip>
          <a:blip r:embed="rId7"/>
        </a:buBlip>
        <a:defRPr sz="2400" b="1" i="0" kern="1200" baseline="0">
          <a:solidFill>
            <a:srgbClr val="31278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82680" indent="-282680" algn="l" defTabSz="608383" rtl="0" eaLnBrk="1" latinLnBrk="0" hangingPunct="1">
        <a:spcBef>
          <a:spcPts val="1280"/>
        </a:spcBef>
        <a:buSzPct val="100000"/>
        <a:buFontTx/>
        <a:buBlip>
          <a:blip r:embed="rId8"/>
        </a:buBlip>
        <a:defRPr sz="1600" kern="1200">
          <a:solidFill>
            <a:srgbClr val="31278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65309" indent="-306576" algn="l" defTabSz="608383" rtl="0" eaLnBrk="1" latinLnBrk="0" hangingPunct="1">
        <a:spcBef>
          <a:spcPts val="1248"/>
        </a:spcBef>
        <a:buSzPct val="100000"/>
        <a:buFontTx/>
        <a:buBlip>
          <a:blip r:embed="rId9"/>
        </a:buBlip>
        <a:defRPr sz="1867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694648" indent="-162888" algn="l" defTabSz="608383" rtl="0" eaLnBrk="1" latinLnBrk="0" hangingPunct="1">
        <a:spcBef>
          <a:spcPts val="800"/>
        </a:spcBef>
        <a:buClr>
          <a:srgbClr val="312782"/>
        </a:buClr>
        <a:buSzPct val="100000"/>
        <a:buFont typeface="Lucida Grande"/>
        <a:buChar char="•"/>
        <a:defRPr sz="1733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718597" indent="-162888" algn="l" defTabSz="608383" rtl="0" eaLnBrk="1" latinLnBrk="0" hangingPunct="1">
        <a:spcBef>
          <a:spcPts val="800"/>
        </a:spcBef>
        <a:buFont typeface="Lucida Grande"/>
        <a:buChar char="&gt;"/>
        <a:defRPr sz="1467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3346248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704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3097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512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83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4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6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9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2072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427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886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329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28666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>
                <a:latin typeface="+mn-lt"/>
                <a:ea typeface="+mn-ea"/>
              </a:endParaRPr>
            </a:p>
          </p:txBody>
        </p:sp>
      </p:grpSp>
      <p:sp>
        <p:nvSpPr>
          <p:cNvPr id="4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2D806984-1FCD-4A5E-A865-F46447992AA4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283641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54" r:id="rId1"/>
    <p:sldLayoutId id="2147489555" r:id="rId2"/>
    <p:sldLayoutId id="2147489556" r:id="rId3"/>
    <p:sldLayoutId id="2147489557" r:id="rId4"/>
    <p:sldLayoutId id="2147489558" r:id="rId5"/>
    <p:sldLayoutId id="2147489559" r:id="rId6"/>
    <p:sldLayoutId id="2147489560" r:id="rId7"/>
    <p:sldLayoutId id="2147489561" r:id="rId8"/>
    <p:sldLayoutId id="2147489562" r:id="rId9"/>
    <p:sldLayoutId id="2147489563" r:id="rId10"/>
    <p:sldLayoutId id="2147489564" r:id="rId11"/>
    <p:sldLayoutId id="2147489565" r:id="rId12"/>
    <p:sldLayoutId id="2147489566" r:id="rId13"/>
    <p:sldLayoutId id="2147489567" r:id="rId14"/>
    <p:sldLayoutId id="2147489568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3" y="5722342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342900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900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900"/>
            <a:r>
              <a:rPr lang="fr-FR"/>
              <a:t> 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69600" y="6293225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0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900"/>
            <a:fld id="{E0E48C36-60D3-5A43-AA48-41867AFDBEE6}" type="slidenum">
              <a:rPr lang="fr-FR" smtClean="0"/>
              <a:pPr defTabSz="342900"/>
              <a:t>‹N°›</a:t>
            </a:fld>
            <a:endParaRPr lang="fr-FR"/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0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  <a:latin typeface="Arial Narrow" panose="020B0606020202030204" pitchFamily="34" charset="0"/>
              </a:rPr>
              <a:t>Propriété PFA- reproduction interdite</a:t>
            </a:r>
            <a:endParaRPr lang="fr-FR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C33300D3-6AE5-432B-8107-7D463D22E729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2420836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0" r:id="rId1"/>
    <p:sldLayoutId id="2147486214" r:id="rId2"/>
    <p:sldLayoutId id="2147486222" r:id="rId3"/>
    <p:sldLayoutId id="2147486974" r:id="rId4"/>
    <p:sldLayoutId id="2147486975" r:id="rId5"/>
    <p:sldLayoutId id="2147486990" r:id="rId6"/>
    <p:sldLayoutId id="2147487540" r:id="rId7"/>
    <p:sldLayoutId id="2147489505" r:id="rId8"/>
    <p:sldLayoutId id="2147489539" r:id="rId9"/>
  </p:sldLayoutIdLst>
  <p:hf hdr="0" dt="0"/>
  <p:txStyles>
    <p:titleStyle>
      <a:lvl1pPr algn="l" defTabSz="342900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900" rtl="0" eaLnBrk="1" latinLnBrk="0" hangingPunct="1">
        <a:spcBef>
          <a:spcPct val="20000"/>
        </a:spcBef>
        <a:buSzPct val="25000"/>
        <a:buFontTx/>
        <a:buBlip>
          <a:blip r:embed="rId13"/>
        </a:buBlip>
        <a:defRPr sz="1650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300" indent="-159300" algn="l" defTabSz="342900" rtl="0" eaLnBrk="1" latinLnBrk="0" hangingPunct="1">
        <a:spcBef>
          <a:spcPts val="720"/>
        </a:spcBef>
        <a:buSzPct val="100000"/>
        <a:buFontTx/>
        <a:buBlip>
          <a:blip r:embed="rId14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600" indent="-172800" algn="l" defTabSz="342900" rtl="0" eaLnBrk="1" latinLnBrk="0" hangingPunct="1">
        <a:spcBef>
          <a:spcPts val="702"/>
        </a:spcBef>
        <a:buSzPct val="100000"/>
        <a:buFontTx/>
        <a:buBlip>
          <a:blip r:embed="rId15"/>
        </a:buBlip>
        <a:defRPr sz="1050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500" indent="-91800" algn="l" defTabSz="342900" rtl="0" eaLnBrk="1" latinLnBrk="0" hangingPunct="1">
        <a:spcBef>
          <a:spcPts val="450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5000" indent="-91800" algn="l" defTabSz="342900" rtl="0" eaLnBrk="1" latinLnBrk="0" hangingPunct="1">
        <a:spcBef>
          <a:spcPts val="450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4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342891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0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1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  <a:latin typeface="Arial Narrow" panose="020B0606020202030204" pitchFamily="34" charset="0"/>
              </a:rPr>
              <a:t>Propriété PFA- reproduction interdite</a:t>
            </a:r>
            <a:endParaRPr lang="fr-FR" sz="180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3B5786BD-5658-45CE-893A-F05DEC12E14A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773450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08" r:id="rId1"/>
    <p:sldLayoutId id="2147488209" r:id="rId2"/>
    <p:sldLayoutId id="2147488210" r:id="rId3"/>
    <p:sldLayoutId id="2147488212" r:id="rId4"/>
    <p:sldLayoutId id="2147488213" r:id="rId5"/>
    <p:sldLayoutId id="2147488214" r:id="rId6"/>
    <p:sldLayoutId id="2147488215" r:id="rId7"/>
    <p:sldLayoutId id="2147488216" r:id="rId8"/>
  </p:sldLayoutIdLst>
  <p:hf hdr="0" dt="0"/>
  <p:txStyles>
    <p:titleStyle>
      <a:lvl1pPr algn="l" defTabSz="342891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891" rtl="0" eaLnBrk="1" latinLnBrk="0" hangingPunct="1">
        <a:spcBef>
          <a:spcPct val="20000"/>
        </a:spcBef>
        <a:buSzPct val="25000"/>
        <a:buFontTx/>
        <a:buBlip>
          <a:blip r:embed="rId12"/>
        </a:buBlip>
        <a:defRPr sz="1651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296" indent="-159296" algn="l" defTabSz="342891" rtl="0" eaLnBrk="1" latinLnBrk="0" hangingPunct="1">
        <a:spcBef>
          <a:spcPts val="720"/>
        </a:spcBef>
        <a:buSzPct val="100000"/>
        <a:buFontTx/>
        <a:buBlip>
          <a:blip r:embed="rId13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592" indent="-172796" algn="l" defTabSz="342891" rtl="0" eaLnBrk="1" latinLnBrk="0" hangingPunct="1">
        <a:spcBef>
          <a:spcPts val="703"/>
        </a:spcBef>
        <a:buSzPct val="100000"/>
        <a:buFontTx/>
        <a:buBlip>
          <a:blip r:embed="rId14"/>
        </a:buBlip>
        <a:defRPr sz="1051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490" indent="-91798" algn="l" defTabSz="342891" rtl="0" eaLnBrk="1" latinLnBrk="0" hangingPunct="1">
        <a:spcBef>
          <a:spcPts val="451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4990" indent="-91798" algn="l" defTabSz="342891" rtl="0" eaLnBrk="1" latinLnBrk="0" hangingPunct="1">
        <a:spcBef>
          <a:spcPts val="451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04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448" y="5725224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4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1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</a:rPr>
              <a:t>Propriété PFA- reproduction interdite</a:t>
            </a:r>
            <a:endParaRPr lang="fr-FR" sz="1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Espace réservé du numéro de diapositive 5">
            <a:extLst>
              <a:ext uri="{FF2B5EF4-FFF2-40B4-BE49-F238E27FC236}">
                <a16:creationId xmlns:a16="http://schemas.microsoft.com/office/drawing/2014/main" id="{813331E8-06C2-499E-AF0E-51CDDCB92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71735" y="6353732"/>
            <a:ext cx="511536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rgbClr val="312782"/>
                </a:solidFill>
                <a:latin typeface="Arial Narrow"/>
                <a:cs typeface="Arial Narrow"/>
              </a:defRPr>
            </a:lvl1pPr>
          </a:lstStyle>
          <a:p>
            <a:fld id="{E0E48C36-60D3-5A43-AA48-41867AFDBEE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A21C7E3C-E56B-49A6-A218-06E58942ECBD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1752653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051" r:id="rId1"/>
    <p:sldLayoutId id="2147489052" r:id="rId2"/>
    <p:sldLayoutId id="2147489053" r:id="rId3"/>
    <p:sldLayoutId id="2147489054" r:id="rId4"/>
    <p:sldLayoutId id="2147489055" r:id="rId5"/>
    <p:sldLayoutId id="2147489056" r:id="rId6"/>
    <p:sldLayoutId id="2147489057" r:id="rId7"/>
    <p:sldLayoutId id="2147489058" r:id="rId8"/>
    <p:sldLayoutId id="2147489059" r:id="rId9"/>
    <p:sldLayoutId id="2147489060" r:id="rId10"/>
    <p:sldLayoutId id="2147489061" r:id="rId11"/>
    <p:sldLayoutId id="2147489062" r:id="rId12"/>
  </p:sldLayoutIdLst>
  <p:hf hdr="0" dt="0"/>
  <p:txStyles>
    <p:titleStyle>
      <a:lvl1pPr algn="l" defTabSz="342891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891" rtl="0" eaLnBrk="1" latinLnBrk="0" hangingPunct="1">
        <a:spcBef>
          <a:spcPct val="20000"/>
        </a:spcBef>
        <a:buSzPct val="25000"/>
        <a:buFontTx/>
        <a:buBlip>
          <a:blip r:embed="rId16"/>
        </a:buBlip>
        <a:defRPr sz="1651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296" indent="-159296" algn="l" defTabSz="342891" rtl="0" eaLnBrk="1" latinLnBrk="0" hangingPunct="1">
        <a:spcBef>
          <a:spcPts val="720"/>
        </a:spcBef>
        <a:buSzPct val="100000"/>
        <a:buFontTx/>
        <a:buBlip>
          <a:blip r:embed="rId17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592" indent="-172796" algn="l" defTabSz="342891" rtl="0" eaLnBrk="1" latinLnBrk="0" hangingPunct="1">
        <a:spcBef>
          <a:spcPts val="703"/>
        </a:spcBef>
        <a:buSzPct val="100000"/>
        <a:buFontTx/>
        <a:buBlip>
          <a:blip r:embed="rId18"/>
        </a:buBlip>
        <a:defRPr sz="1051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490" indent="-91798" algn="l" defTabSz="342891" rtl="0" eaLnBrk="1" latinLnBrk="0" hangingPunct="1">
        <a:spcBef>
          <a:spcPts val="451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4990" indent="-91798" algn="l" defTabSz="342891" rtl="0" eaLnBrk="1" latinLnBrk="0" hangingPunct="1">
        <a:spcBef>
          <a:spcPts val="451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04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240000"/>
            <a:ext cx="9913237" cy="816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604802"/>
            <a:ext cx="9913237" cy="491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1146548" y="1200000"/>
            <a:ext cx="9913237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</p:spPr>
      </p:pic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10B61BAC-C7DA-4409-9741-6179B6DEEF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891"/>
            <a:fld id="{DAF75D33-5A66-416B-B3D8-2545EE59F5B0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929CA8B8-F2F0-4F5C-B504-C08053D12DC4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0AF6A681-25BE-4A4B-9077-39671C27E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  <p:sp>
        <p:nvSpPr>
          <p:cNvPr id="4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5D564D6B-FA41-45E2-8339-10DB94A11C30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31446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147" r:id="rId1"/>
    <p:sldLayoutId id="2147489148" r:id="rId2"/>
    <p:sldLayoutId id="2147489149" r:id="rId3"/>
    <p:sldLayoutId id="2147489150" r:id="rId4"/>
    <p:sldLayoutId id="2147489151" r:id="rId5"/>
    <p:sldLayoutId id="2147489152" r:id="rId6"/>
  </p:sldLayoutIdLst>
  <p:hf hdr="0"/>
  <p:txStyles>
    <p:titleStyle>
      <a:lvl1pPr algn="ctr" defTabSz="608383" rtl="0" eaLnBrk="1" latinLnBrk="0" hangingPunct="1">
        <a:spcBef>
          <a:spcPct val="0"/>
        </a:spcBef>
        <a:buNone/>
        <a:defRPr sz="24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608383" rtl="0" eaLnBrk="1" latinLnBrk="0" hangingPunct="1">
        <a:spcBef>
          <a:spcPct val="20000"/>
        </a:spcBef>
        <a:buSzPct val="25000"/>
        <a:buFontTx/>
        <a:buBlip>
          <a:blip r:embed="rId10"/>
        </a:buBlip>
        <a:defRPr sz="2933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282680" indent="-282680" algn="l" defTabSz="608383" rtl="0" eaLnBrk="1" latinLnBrk="0" hangingPunct="1">
        <a:spcBef>
          <a:spcPts val="1280"/>
        </a:spcBef>
        <a:buSzPct val="100000"/>
        <a:buFontTx/>
        <a:buBlip>
          <a:blip r:embed="rId11"/>
        </a:buBlip>
        <a:defRPr sz="2000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565309" indent="-306576" algn="l" defTabSz="608383" rtl="0" eaLnBrk="1" latinLnBrk="0" hangingPunct="1">
        <a:spcBef>
          <a:spcPts val="1248"/>
        </a:spcBef>
        <a:buSzPct val="100000"/>
        <a:buFontTx/>
        <a:buBlip>
          <a:blip r:embed="rId12"/>
        </a:buBlip>
        <a:defRPr sz="1867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694648" indent="-162888" algn="l" defTabSz="608383" rtl="0" eaLnBrk="1" latinLnBrk="0" hangingPunct="1">
        <a:spcBef>
          <a:spcPts val="800"/>
        </a:spcBef>
        <a:buClr>
          <a:srgbClr val="312782"/>
        </a:buClr>
        <a:buSzPct val="100000"/>
        <a:buFont typeface="Lucida Grande"/>
        <a:buChar char="•"/>
        <a:defRPr sz="1733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718597" indent="-162888" algn="l" defTabSz="608383" rtl="0" eaLnBrk="1" latinLnBrk="0" hangingPunct="1">
        <a:spcBef>
          <a:spcPts val="800"/>
        </a:spcBef>
        <a:buFont typeface="Lucida Grande"/>
        <a:buChar char="&gt;"/>
        <a:defRPr sz="1467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3346248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704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3097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512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83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4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6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9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2072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427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886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329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-10629"/>
            <a:ext cx="12192000" cy="360040"/>
          </a:xfrm>
          <a:prstGeom prst="rect">
            <a:avLst/>
          </a:prstGeom>
          <a:solidFill>
            <a:srgbClr val="3127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4377"/>
            <a:endParaRPr lang="fr-FR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49412"/>
            <a:ext cx="12192000" cy="55253"/>
          </a:xfrm>
          <a:prstGeom prst="rect">
            <a:avLst/>
          </a:prstGeom>
          <a:solidFill>
            <a:srgbClr val="E53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fr-FR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9A67D18D-8352-42E9-8077-933DB8A5A2CA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3696740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261" r:id="rId1"/>
    <p:sldLayoutId id="2147489262" r:id="rId2"/>
    <p:sldLayoutId id="2147489263" r:id="rId3"/>
    <p:sldLayoutId id="2147489265" r:id="rId4"/>
  </p:sldLayoutIdLst>
  <p:hf hdr="0" dt="0"/>
  <p:txStyles>
    <p:titleStyle>
      <a:lvl1pPr algn="ctr" defTabSz="9143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240000"/>
            <a:ext cx="9913237" cy="816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604802"/>
            <a:ext cx="9913237" cy="4910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cxnSp>
        <p:nvCxnSpPr>
          <p:cNvPr id="12" name="Connecteur droit 11"/>
          <p:cNvCxnSpPr/>
          <p:nvPr/>
        </p:nvCxnSpPr>
        <p:spPr>
          <a:xfrm>
            <a:off x="1146548" y="1200000"/>
            <a:ext cx="9913237" cy="0"/>
          </a:xfrm>
          <a:prstGeom prst="line">
            <a:avLst/>
          </a:prstGeom>
          <a:ln w="3175">
            <a:solidFill>
              <a:srgbClr val="3127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5464" y="5722545"/>
            <a:ext cx="1578709" cy="1160161"/>
          </a:xfrm>
          <a:prstGeom prst="rect">
            <a:avLst/>
          </a:prstGeom>
        </p:spPr>
      </p:pic>
      <p:sp>
        <p:nvSpPr>
          <p:cNvPr id="6" name="Espace réservé de la date 2">
            <a:extLst>
              <a:ext uri="{FF2B5EF4-FFF2-40B4-BE49-F238E27FC236}">
                <a16:creationId xmlns:a16="http://schemas.microsoft.com/office/drawing/2014/main" id="{66FA5AB2-0957-4CD3-A65A-D8F13D4BBF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 algn="l"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4">
            <a:extLst>
              <a:ext uri="{FF2B5EF4-FFF2-40B4-BE49-F238E27FC236}">
                <a16:creationId xmlns:a16="http://schemas.microsoft.com/office/drawing/2014/main" id="{DB70D0D9-4234-43F7-A7AD-D2396B63B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59533" y="6293224"/>
            <a:ext cx="660400" cy="365125"/>
          </a:xfrm>
          <a:prstGeom prst="rect">
            <a:avLst/>
          </a:prstGeom>
        </p:spPr>
        <p:txBody>
          <a:bodyPr/>
          <a:lstStyle>
            <a:lvl1pPr algn="ctr"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E48C36-60D3-5A43-AA48-41867AFDBEE6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E11D13EA-9210-4AC8-9FEE-2D39EDD54957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1150972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267" r:id="rId1"/>
    <p:sldLayoutId id="2147489268" r:id="rId2"/>
    <p:sldLayoutId id="2147489269" r:id="rId3"/>
    <p:sldLayoutId id="2147489270" r:id="rId4"/>
    <p:sldLayoutId id="2147489273" r:id="rId5"/>
    <p:sldLayoutId id="2147489274" r:id="rId6"/>
  </p:sldLayoutIdLst>
  <p:hf hdr="0" dt="0"/>
  <p:txStyles>
    <p:titleStyle>
      <a:lvl1pPr algn="l" defTabSz="608383" rtl="0" eaLnBrk="1" latinLnBrk="0" hangingPunct="1">
        <a:spcBef>
          <a:spcPct val="0"/>
        </a:spcBef>
        <a:buNone/>
        <a:defRPr sz="32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608383" rtl="0" eaLnBrk="1" latinLnBrk="0" hangingPunct="1">
        <a:spcBef>
          <a:spcPct val="20000"/>
        </a:spcBef>
        <a:buSzPct val="25000"/>
        <a:buFontTx/>
        <a:buBlip>
          <a:blip r:embed="rId9"/>
        </a:buBlip>
        <a:defRPr sz="2400" b="1" i="0" kern="1200" baseline="0">
          <a:solidFill>
            <a:srgbClr val="31278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82680" indent="-282680" algn="l" defTabSz="608383" rtl="0" eaLnBrk="1" latinLnBrk="0" hangingPunct="1">
        <a:spcBef>
          <a:spcPts val="1280"/>
        </a:spcBef>
        <a:buSzPct val="100000"/>
        <a:buFontTx/>
        <a:buBlip>
          <a:blip r:embed="rId10"/>
        </a:buBlip>
        <a:defRPr sz="1600" kern="1200">
          <a:solidFill>
            <a:srgbClr val="31278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65309" indent="-306576" algn="l" defTabSz="608383" rtl="0" eaLnBrk="1" latinLnBrk="0" hangingPunct="1">
        <a:spcBef>
          <a:spcPts val="1248"/>
        </a:spcBef>
        <a:buSzPct val="100000"/>
        <a:buFontTx/>
        <a:buBlip>
          <a:blip r:embed="rId11"/>
        </a:buBlip>
        <a:defRPr sz="1867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694648" indent="-162888" algn="l" defTabSz="608383" rtl="0" eaLnBrk="1" latinLnBrk="0" hangingPunct="1">
        <a:spcBef>
          <a:spcPts val="800"/>
        </a:spcBef>
        <a:buClr>
          <a:srgbClr val="312782"/>
        </a:buClr>
        <a:buSzPct val="100000"/>
        <a:buFont typeface="Lucida Grande"/>
        <a:buChar char="•"/>
        <a:defRPr sz="1733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718597" indent="-162888" algn="l" defTabSz="608383" rtl="0" eaLnBrk="1" latinLnBrk="0" hangingPunct="1">
        <a:spcBef>
          <a:spcPts val="800"/>
        </a:spcBef>
        <a:buFont typeface="Lucida Grande"/>
        <a:buChar char="&gt;"/>
        <a:defRPr sz="1467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3346248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54704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63097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71512" indent="-304176" algn="l" defTabSz="608383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383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684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264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3690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2072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0427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58886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67329" algn="l" defTabSz="60838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-10629"/>
            <a:ext cx="12192000" cy="360040"/>
          </a:xfrm>
          <a:prstGeom prst="rect">
            <a:avLst/>
          </a:prstGeom>
          <a:solidFill>
            <a:srgbClr val="3127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4377"/>
            <a:endParaRPr lang="fr-FR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349412"/>
            <a:ext cx="12192000" cy="55253"/>
          </a:xfrm>
          <a:prstGeom prst="rect">
            <a:avLst/>
          </a:prstGeom>
          <a:solidFill>
            <a:srgbClr val="E53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fr-FR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84DF20E6-0E62-4159-8748-F419A4ACF836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121624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01" r:id="rId1"/>
    <p:sldLayoutId id="2147489302" r:id="rId2"/>
    <p:sldLayoutId id="2147489303" r:id="rId3"/>
  </p:sldLayoutIdLst>
  <p:hf hdr="0" dt="0"/>
  <p:txStyles>
    <p:titleStyle>
      <a:lvl1pPr algn="ctr" defTabSz="9143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A.png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464" y="5722344"/>
            <a:ext cx="1578709" cy="116016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46548" y="529192"/>
            <a:ext cx="9913237" cy="88844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146548" y="1989149"/>
            <a:ext cx="10462312" cy="4525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/>
              <a:t>Cliquez pour modifier</a:t>
            </a:r>
            <a:br>
              <a:rPr lang="fr-FR"/>
            </a:br>
            <a:r>
              <a:rPr lang="fr-FR"/>
              <a:t>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 err="1"/>
              <a:t>Troisièmeniveau</a:t>
            </a:r>
            <a:endParaRPr lang="fr-FR"/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defTabSz="342891"/>
            <a:fld id="{D040F153-7B64-2E4F-AC49-9C4A095294CF}" type="datetime1"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342891"/>
              <a:t>21/01/2022</a:t>
            </a:fld>
            <a:endParaRPr lang="fr-FR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0" y="6356352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pPr defTabSz="342891"/>
            <a:r>
              <a:rPr lang="fr-FR"/>
              <a:t> 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69600" y="6293226"/>
            <a:ext cx="4487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51">
                <a:solidFill>
                  <a:srgbClr val="24195D"/>
                </a:solidFill>
                <a:latin typeface="Arial Narrow"/>
                <a:cs typeface="Arial Narrow"/>
              </a:defRPr>
            </a:lvl1pPr>
          </a:lstStyle>
          <a:p>
            <a:pPr defTabSz="342891"/>
            <a:fld id="{E0E48C36-60D3-5A43-AA48-41867AFDBEE6}" type="slidenum">
              <a:rPr lang="fr-FR" smtClean="0"/>
              <a:pPr defTabSz="342891"/>
              <a:t>‹N°›</a:t>
            </a:fld>
            <a:endParaRPr lang="fr-FR"/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5218221" y="6584955"/>
            <a:ext cx="30861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35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4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78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698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32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546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480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14" algn="l" defTabSz="9138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000">
                <a:solidFill>
                  <a:srgbClr val="002060"/>
                </a:solidFill>
                <a:latin typeface="Arial Narrow" panose="020B0606020202030204" pitchFamily="34" charset="0"/>
              </a:rPr>
              <a:t>Propriété PFA- reproduction interdite</a:t>
            </a:r>
            <a:endParaRPr lang="fr-FR" sz="180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MSIPCMContentMarking" descr="{&quot;HashCode&quot;:-424964394,&quot;Placement&quot;:&quot;Footer&quot;,&quot;Top&quot;:520.3781,&quot;Left&quot;:874.774353,&quot;SlideWidth&quot;:960,&quot;SlideHeight&quot;:540}">
            <a:extLst>
              <a:ext uri="{FF2B5EF4-FFF2-40B4-BE49-F238E27FC236}">
                <a16:creationId xmlns:a16="http://schemas.microsoft.com/office/drawing/2014/main" id="{EB2309C1-5ECF-4321-AE51-25E0216BF2CE}"/>
              </a:ext>
            </a:extLst>
          </p:cNvPr>
          <p:cNvSpPr txBox="1"/>
          <p:nvPr userDrawn="1"/>
        </p:nvSpPr>
        <p:spPr>
          <a:xfrm>
            <a:off x="11109634" y="6608802"/>
            <a:ext cx="108236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000000"/>
                </a:solidFill>
                <a:latin typeface="Arial" panose="020B0604020202020204" pitchFamily="34" charset="0"/>
              </a:rPr>
              <a:t>Confidential C</a:t>
            </a:r>
          </a:p>
        </p:txBody>
      </p:sp>
    </p:spTree>
    <p:extLst>
      <p:ext uri="{BB962C8B-B14F-4D97-AF65-F5344CB8AC3E}">
        <p14:creationId xmlns:p14="http://schemas.microsoft.com/office/powerpoint/2010/main" val="33929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305" r:id="rId1"/>
    <p:sldLayoutId id="2147489307" r:id="rId2"/>
    <p:sldLayoutId id="2147489308" r:id="rId3"/>
    <p:sldLayoutId id="2147489309" r:id="rId4"/>
    <p:sldLayoutId id="2147489310" r:id="rId5"/>
    <p:sldLayoutId id="2147489311" r:id="rId6"/>
    <p:sldLayoutId id="2147489312" r:id="rId7"/>
    <p:sldLayoutId id="2147489313" r:id="rId8"/>
    <p:sldLayoutId id="2147489314" r:id="rId9"/>
    <p:sldLayoutId id="2147489315" r:id="rId10"/>
    <p:sldLayoutId id="2147489318" r:id="rId11"/>
    <p:sldLayoutId id="2147489319" r:id="rId12"/>
    <p:sldLayoutId id="2147489320" r:id="rId13"/>
    <p:sldLayoutId id="2147489321" r:id="rId14"/>
    <p:sldLayoutId id="2147489322" r:id="rId15"/>
    <p:sldLayoutId id="2147489323" r:id="rId16"/>
    <p:sldLayoutId id="2147489324" r:id="rId17"/>
    <p:sldLayoutId id="2147489325" r:id="rId18"/>
    <p:sldLayoutId id="2147489327" r:id="rId19"/>
  </p:sldLayoutIdLst>
  <p:hf hdr="0" dt="0"/>
  <p:txStyles>
    <p:titleStyle>
      <a:lvl1pPr algn="l" defTabSz="342891" rtl="0" eaLnBrk="1" latinLnBrk="0" hangingPunct="1">
        <a:spcBef>
          <a:spcPct val="0"/>
        </a:spcBef>
        <a:buNone/>
        <a:defRPr sz="2100" kern="1200">
          <a:solidFill>
            <a:srgbClr val="312782"/>
          </a:solidFill>
          <a:latin typeface="Arial Black"/>
          <a:ea typeface="+mj-ea"/>
          <a:cs typeface="Arial Black"/>
        </a:defRPr>
      </a:lvl1pPr>
    </p:titleStyle>
    <p:bodyStyle>
      <a:lvl1pPr marL="0" indent="0" algn="l" defTabSz="342891" rtl="0" eaLnBrk="1" latinLnBrk="0" hangingPunct="1">
        <a:spcBef>
          <a:spcPct val="20000"/>
        </a:spcBef>
        <a:buSzPct val="25000"/>
        <a:buFontTx/>
        <a:buBlip>
          <a:blip r:embed="rId23"/>
        </a:buBlip>
        <a:defRPr sz="1651" b="1" i="0" kern="1200" baseline="0">
          <a:solidFill>
            <a:srgbClr val="312782"/>
          </a:solidFill>
          <a:latin typeface="Arial Narrow Bold"/>
          <a:ea typeface="+mn-ea"/>
          <a:cs typeface="Arial Narrow Bold"/>
        </a:defRPr>
      </a:lvl1pPr>
      <a:lvl2pPr marL="159296" indent="-159296" algn="l" defTabSz="342891" rtl="0" eaLnBrk="1" latinLnBrk="0" hangingPunct="1">
        <a:spcBef>
          <a:spcPts val="720"/>
        </a:spcBef>
        <a:buSzPct val="100000"/>
        <a:buFontTx/>
        <a:buBlip>
          <a:blip r:embed="rId24"/>
        </a:buBlip>
        <a:defRPr sz="1125" kern="1200">
          <a:solidFill>
            <a:srgbClr val="312782"/>
          </a:solidFill>
          <a:latin typeface="Arial Narrow"/>
          <a:ea typeface="+mn-ea"/>
          <a:cs typeface="Arial Narrow"/>
        </a:defRPr>
      </a:lvl2pPr>
      <a:lvl3pPr marL="318592" indent="-172796" algn="l" defTabSz="342891" rtl="0" eaLnBrk="1" latinLnBrk="0" hangingPunct="1">
        <a:spcBef>
          <a:spcPts val="703"/>
        </a:spcBef>
        <a:buSzPct val="100000"/>
        <a:buFontTx/>
        <a:buBlip>
          <a:blip r:embed="rId25"/>
        </a:buBlip>
        <a:defRPr sz="1051" kern="1200">
          <a:solidFill>
            <a:srgbClr val="E5332A"/>
          </a:solidFill>
          <a:latin typeface="Arial Narrow"/>
          <a:ea typeface="+mn-ea"/>
          <a:cs typeface="Arial Narrow"/>
        </a:defRPr>
      </a:lvl3pPr>
      <a:lvl4pPr marL="391490" indent="-91798" algn="l" defTabSz="342891" rtl="0" eaLnBrk="1" latinLnBrk="0" hangingPunct="1">
        <a:spcBef>
          <a:spcPts val="451"/>
        </a:spcBef>
        <a:buClr>
          <a:srgbClr val="312782"/>
        </a:buClr>
        <a:buSzPct val="100000"/>
        <a:buFont typeface="Lucida Grande"/>
        <a:buChar char="•"/>
        <a:defRPr sz="975" b="0" i="1" kern="1200">
          <a:solidFill>
            <a:srgbClr val="312782"/>
          </a:solidFill>
          <a:latin typeface="Arial Narrow Italic"/>
          <a:ea typeface="+mn-ea"/>
          <a:cs typeface="Arial Narrow Italic"/>
        </a:defRPr>
      </a:lvl4pPr>
      <a:lvl5pPr marL="404990" indent="-91798" algn="l" defTabSz="342891" rtl="0" eaLnBrk="1" latinLnBrk="0" hangingPunct="1">
        <a:spcBef>
          <a:spcPts val="451"/>
        </a:spcBef>
        <a:buFont typeface="Lucida Grande"/>
        <a:buChar char="&gt;"/>
        <a:defRPr sz="825" kern="1200">
          <a:solidFill>
            <a:schemeClr val="bg1">
              <a:lumMod val="50000"/>
            </a:schemeClr>
          </a:solidFill>
          <a:latin typeface="Arial Narrow"/>
          <a:ea typeface="+mn-ea"/>
          <a:cs typeface="Arial Narrow"/>
        </a:defRPr>
      </a:lvl5pPr>
      <a:lvl6pPr marL="1885904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34289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342891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0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7.xml"/><Relationship Id="rId3" Type="http://schemas.openxmlformats.org/officeDocument/2006/relationships/image" Target="../media/image96.png"/><Relationship Id="rId7" Type="http://schemas.openxmlformats.org/officeDocument/2006/relationships/diagramQuickStyle" Target="../diagrams/quickStyle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Relationship Id="rId6" Type="http://schemas.openxmlformats.org/officeDocument/2006/relationships/diagramLayout" Target="../diagrams/layout7.xml"/><Relationship Id="rId5" Type="http://schemas.openxmlformats.org/officeDocument/2006/relationships/diagramData" Target="../diagrams/data7.xml"/><Relationship Id="rId4" Type="http://schemas.openxmlformats.org/officeDocument/2006/relationships/image" Target="../media/image97.svg"/><Relationship Id="rId9" Type="http://schemas.microsoft.com/office/2007/relationships/diagramDrawing" Target="../diagrams/drawing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13" Type="http://schemas.openxmlformats.org/officeDocument/2006/relationships/image" Target="../media/image108.svg"/><Relationship Id="rId18" Type="http://schemas.openxmlformats.org/officeDocument/2006/relationships/image" Target="../media/image113.png"/><Relationship Id="rId3" Type="http://schemas.openxmlformats.org/officeDocument/2006/relationships/image" Target="../media/image98.jpeg"/><Relationship Id="rId7" Type="http://schemas.openxmlformats.org/officeDocument/2006/relationships/image" Target="../media/image102.svg"/><Relationship Id="rId12" Type="http://schemas.openxmlformats.org/officeDocument/2006/relationships/image" Target="../media/image107.png"/><Relationship Id="rId17" Type="http://schemas.openxmlformats.org/officeDocument/2006/relationships/image" Target="../media/image112.sv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111.sv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01.png"/><Relationship Id="rId11" Type="http://schemas.openxmlformats.org/officeDocument/2006/relationships/image" Target="../media/image106.png"/><Relationship Id="rId5" Type="http://schemas.openxmlformats.org/officeDocument/2006/relationships/image" Target="../media/image100.svg"/><Relationship Id="rId15" Type="http://schemas.openxmlformats.org/officeDocument/2006/relationships/image" Target="../media/image110.svg"/><Relationship Id="rId10" Type="http://schemas.openxmlformats.org/officeDocument/2006/relationships/image" Target="../media/image105.svg"/><Relationship Id="rId4" Type="http://schemas.openxmlformats.org/officeDocument/2006/relationships/image" Target="../media/image99.png"/><Relationship Id="rId9" Type="http://schemas.openxmlformats.org/officeDocument/2006/relationships/image" Target="../media/image104.png"/><Relationship Id="rId14" Type="http://schemas.openxmlformats.org/officeDocument/2006/relationships/image" Target="../media/image109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4.png"/><Relationship Id="rId4" Type="http://schemas.openxmlformats.org/officeDocument/2006/relationships/image" Target="../media/image5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sv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58.sv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57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5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7.png"/><Relationship Id="rId18" Type="http://schemas.openxmlformats.org/officeDocument/2006/relationships/image" Target="../media/image72.png"/><Relationship Id="rId26" Type="http://schemas.openxmlformats.org/officeDocument/2006/relationships/image" Target="../media/image80.jpeg"/><Relationship Id="rId39" Type="http://schemas.openxmlformats.org/officeDocument/2006/relationships/image" Target="../media/image93.png"/><Relationship Id="rId21" Type="http://schemas.openxmlformats.org/officeDocument/2006/relationships/image" Target="../media/image75.png"/><Relationship Id="rId34" Type="http://schemas.openxmlformats.org/officeDocument/2006/relationships/image" Target="../media/image88.png"/><Relationship Id="rId42" Type="http://schemas.openxmlformats.org/officeDocument/2006/relationships/diagramQuickStyle" Target="../diagrams/quickStyle5.xml"/><Relationship Id="rId47" Type="http://schemas.openxmlformats.org/officeDocument/2006/relationships/diagramQuickStyle" Target="../diagrams/quickStyle6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0.png"/><Relationship Id="rId29" Type="http://schemas.openxmlformats.org/officeDocument/2006/relationships/image" Target="../media/image83.png"/><Relationship Id="rId11" Type="http://schemas.openxmlformats.org/officeDocument/2006/relationships/image" Target="../media/image65.png"/><Relationship Id="rId24" Type="http://schemas.openxmlformats.org/officeDocument/2006/relationships/image" Target="../media/image78.png"/><Relationship Id="rId32" Type="http://schemas.openxmlformats.org/officeDocument/2006/relationships/image" Target="../media/image86.png"/><Relationship Id="rId37" Type="http://schemas.openxmlformats.org/officeDocument/2006/relationships/image" Target="../media/image91.png"/><Relationship Id="rId40" Type="http://schemas.openxmlformats.org/officeDocument/2006/relationships/diagramData" Target="../diagrams/data5.xml"/><Relationship Id="rId45" Type="http://schemas.openxmlformats.org/officeDocument/2006/relationships/diagramData" Target="../diagrams/data6.xml"/><Relationship Id="rId5" Type="http://schemas.openxmlformats.org/officeDocument/2006/relationships/diagramQuickStyle" Target="../diagrams/quickStyle4.xml"/><Relationship Id="rId15" Type="http://schemas.openxmlformats.org/officeDocument/2006/relationships/image" Target="../media/image69.png"/><Relationship Id="rId23" Type="http://schemas.openxmlformats.org/officeDocument/2006/relationships/image" Target="../media/image77.png"/><Relationship Id="rId28" Type="http://schemas.openxmlformats.org/officeDocument/2006/relationships/image" Target="../media/image82.jpeg"/><Relationship Id="rId36" Type="http://schemas.openxmlformats.org/officeDocument/2006/relationships/image" Target="../media/image90.png"/><Relationship Id="rId49" Type="http://schemas.microsoft.com/office/2007/relationships/diagramDrawing" Target="../diagrams/drawing6.xml"/><Relationship Id="rId10" Type="http://schemas.openxmlformats.org/officeDocument/2006/relationships/image" Target="../media/image64.png"/><Relationship Id="rId19" Type="http://schemas.openxmlformats.org/officeDocument/2006/relationships/image" Target="../media/image73.png"/><Relationship Id="rId31" Type="http://schemas.openxmlformats.org/officeDocument/2006/relationships/image" Target="../media/image85.png"/><Relationship Id="rId44" Type="http://schemas.microsoft.com/office/2007/relationships/diagramDrawing" Target="../diagrams/drawing5.xml"/><Relationship Id="rId4" Type="http://schemas.openxmlformats.org/officeDocument/2006/relationships/diagramLayout" Target="../diagrams/layout4.xml"/><Relationship Id="rId9" Type="http://schemas.openxmlformats.org/officeDocument/2006/relationships/image" Target="../media/image63.png"/><Relationship Id="rId14" Type="http://schemas.openxmlformats.org/officeDocument/2006/relationships/image" Target="../media/image68.png"/><Relationship Id="rId22" Type="http://schemas.openxmlformats.org/officeDocument/2006/relationships/image" Target="../media/image76.png"/><Relationship Id="rId27" Type="http://schemas.openxmlformats.org/officeDocument/2006/relationships/image" Target="../media/image81.png"/><Relationship Id="rId30" Type="http://schemas.openxmlformats.org/officeDocument/2006/relationships/image" Target="../media/image84.png"/><Relationship Id="rId35" Type="http://schemas.openxmlformats.org/officeDocument/2006/relationships/image" Target="../media/image89.png"/><Relationship Id="rId43" Type="http://schemas.openxmlformats.org/officeDocument/2006/relationships/diagramColors" Target="../diagrams/colors5.xml"/><Relationship Id="rId48" Type="http://schemas.openxmlformats.org/officeDocument/2006/relationships/diagramColors" Target="../diagrams/colors6.xml"/><Relationship Id="rId8" Type="http://schemas.openxmlformats.org/officeDocument/2006/relationships/image" Target="../media/image62.png"/><Relationship Id="rId3" Type="http://schemas.openxmlformats.org/officeDocument/2006/relationships/diagramData" Target="../diagrams/data4.xml"/><Relationship Id="rId12" Type="http://schemas.openxmlformats.org/officeDocument/2006/relationships/image" Target="../media/image66.png"/><Relationship Id="rId17" Type="http://schemas.openxmlformats.org/officeDocument/2006/relationships/image" Target="../media/image71.png"/><Relationship Id="rId25" Type="http://schemas.openxmlformats.org/officeDocument/2006/relationships/image" Target="../media/image79.png"/><Relationship Id="rId33" Type="http://schemas.openxmlformats.org/officeDocument/2006/relationships/image" Target="../media/image87.png"/><Relationship Id="rId38" Type="http://schemas.openxmlformats.org/officeDocument/2006/relationships/image" Target="../media/image92.png"/><Relationship Id="rId46" Type="http://schemas.openxmlformats.org/officeDocument/2006/relationships/diagramLayout" Target="../diagrams/layout6.xml"/><Relationship Id="rId20" Type="http://schemas.openxmlformats.org/officeDocument/2006/relationships/image" Target="../media/image74.png"/><Relationship Id="rId41" Type="http://schemas.openxmlformats.org/officeDocument/2006/relationships/diagramLayout" Target="../diagrams/layout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9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FFED07E-E89C-4765-AB86-A0FB95936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7" y="321734"/>
            <a:ext cx="10905066" cy="1135737"/>
          </a:xfrm>
        </p:spPr>
        <p:txBody>
          <a:bodyPr>
            <a:normAutofit/>
          </a:bodyPr>
          <a:lstStyle/>
          <a:p>
            <a:r>
              <a:rPr lang="fr-FR" sz="2400" dirty="0"/>
              <a:t>Le VA, </a:t>
            </a:r>
            <a:r>
              <a:rPr lang="fr-FR" sz="2400" spc="100" dirty="0"/>
              <a:t>une</a:t>
            </a:r>
            <a:r>
              <a:rPr lang="fr-FR" sz="2400" dirty="0"/>
              <a:t> priorité politique nationale depuis 2018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ED7F8B44-1C18-46D8-8FD9-5926C435C9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128" y="2171198"/>
            <a:ext cx="5630847" cy="2280492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13407F4E-61AC-4294-BEDF-334DDB3CCFB3}"/>
              </a:ext>
            </a:extLst>
          </p:cNvPr>
          <p:cNvSpPr txBox="1"/>
          <p:nvPr/>
        </p:nvSpPr>
        <p:spPr>
          <a:xfrm>
            <a:off x="6642321" y="2116859"/>
            <a:ext cx="491999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/>
              <a:t>Nomination d’Anne-Marie Idrac, haute repésentante du Gouvernement au développement des véhicules autonomes</a:t>
            </a:r>
            <a:endParaRPr lang="fr-FR" sz="2000" dirty="0"/>
          </a:p>
        </p:txBody>
      </p:sp>
      <p:pic>
        <p:nvPicPr>
          <p:cNvPr id="1026" name="Picture 2" descr="Anne-Marie Idrac : « Le véhicule autonome trouvera sa place dans la société  s'il est géré de façon collective » | Les Echos">
            <a:extLst>
              <a:ext uri="{FF2B5EF4-FFF2-40B4-BE49-F238E27FC236}">
                <a16:creationId xmlns:a16="http://schemas.microsoft.com/office/drawing/2014/main" id="{226D1806-3CA1-488D-99DB-00C7BA5A4A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027" y="3702152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6567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Graphique 152">
            <a:extLst>
              <a:ext uri="{FF2B5EF4-FFF2-40B4-BE49-F238E27FC236}">
                <a16:creationId xmlns:a16="http://schemas.microsoft.com/office/drawing/2014/main" id="{B91D3024-8DE6-4D0E-ADA1-BE17E70A4A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04646" y="1730107"/>
            <a:ext cx="3375890" cy="3375890"/>
          </a:xfrm>
          <a:prstGeom prst="rect">
            <a:avLst/>
          </a:prstGeom>
        </p:spPr>
      </p:pic>
      <p:grpSp>
        <p:nvGrpSpPr>
          <p:cNvPr id="5" name="Groupe 4">
            <a:extLst>
              <a:ext uri="{FF2B5EF4-FFF2-40B4-BE49-F238E27FC236}">
                <a16:creationId xmlns:a16="http://schemas.microsoft.com/office/drawing/2014/main" id="{892F22CD-D78E-4B83-AA6F-E0AA9C24597D}"/>
              </a:ext>
            </a:extLst>
          </p:cNvPr>
          <p:cNvGrpSpPr/>
          <p:nvPr/>
        </p:nvGrpSpPr>
        <p:grpSpPr>
          <a:xfrm>
            <a:off x="12740091" y="-1170824"/>
            <a:ext cx="2236499" cy="1821489"/>
            <a:chOff x="5232400" y="1329267"/>
            <a:chExt cx="3598334" cy="2518312"/>
          </a:xfrm>
        </p:grpSpPr>
        <p:graphicFrame>
          <p:nvGraphicFramePr>
            <p:cNvPr id="6" name="Diagramme 5">
              <a:extLst>
                <a:ext uri="{FF2B5EF4-FFF2-40B4-BE49-F238E27FC236}">
                  <a16:creationId xmlns:a16="http://schemas.microsoft.com/office/drawing/2014/main" id="{797154B2-2B5E-4ED6-9A09-9749188B78AD}"/>
                </a:ext>
              </a:extLst>
            </p:cNvPr>
            <p:cNvGraphicFramePr/>
            <p:nvPr/>
          </p:nvGraphicFramePr>
          <p:xfrm>
            <a:off x="5232400" y="1329267"/>
            <a:ext cx="3598334" cy="251831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FC14F01B-5036-4414-BF3D-038B8EA4B794}"/>
                </a:ext>
              </a:extLst>
            </p:cNvPr>
            <p:cNvSpPr txBox="1"/>
            <p:nvPr/>
          </p:nvSpPr>
          <p:spPr>
            <a:xfrm>
              <a:off x="6063068" y="2451484"/>
              <a:ext cx="2017304" cy="5228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fr-FR" sz="1400" b="1" dirty="0">
                  <a:solidFill>
                    <a:srgbClr val="E4173F"/>
                  </a:solidFill>
                  <a:latin typeface="Univers Condensed" panose="020B0506020202050204" pitchFamily="34" charset="0"/>
                </a:rPr>
                <a:t>Evaluations</a:t>
              </a:r>
              <a:endParaRPr lang="fr-FR" sz="1600" b="1" dirty="0">
                <a:solidFill>
                  <a:srgbClr val="E4173F"/>
                </a:solidFill>
                <a:latin typeface="Univers Condensed" panose="020B0506020202050204" pitchFamily="34" charset="0"/>
              </a:endParaRPr>
            </a:p>
          </p:txBody>
        </p:sp>
      </p:grpSp>
      <p:sp>
        <p:nvSpPr>
          <p:cNvPr id="27" name="ZoneTexte 26">
            <a:extLst>
              <a:ext uri="{FF2B5EF4-FFF2-40B4-BE49-F238E27FC236}">
                <a16:creationId xmlns:a16="http://schemas.microsoft.com/office/drawing/2014/main" id="{BAA1AA26-FF3D-44C1-8F77-7DD34DC0BDF3}"/>
              </a:ext>
            </a:extLst>
          </p:cNvPr>
          <p:cNvSpPr txBox="1"/>
          <p:nvPr/>
        </p:nvSpPr>
        <p:spPr>
          <a:xfrm rot="6177799">
            <a:off x="6722917" y="3470000"/>
            <a:ext cx="1000125" cy="447353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429181"/>
              </a:avLst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Comportement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277DF2FE-00E5-4BFB-ACD2-BCE9D0709D0C}"/>
              </a:ext>
            </a:extLst>
          </p:cNvPr>
          <p:cNvSpPr txBox="1"/>
          <p:nvPr/>
        </p:nvSpPr>
        <p:spPr>
          <a:xfrm rot="9002379">
            <a:off x="6143670" y="4107506"/>
            <a:ext cx="1000125" cy="584730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Environnement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07CC192C-5C1B-4258-A5A3-C51973F6D0F5}"/>
              </a:ext>
            </a:extLst>
          </p:cNvPr>
          <p:cNvSpPr txBox="1"/>
          <p:nvPr/>
        </p:nvSpPr>
        <p:spPr>
          <a:xfrm rot="12301354">
            <a:off x="5177327" y="4491571"/>
            <a:ext cx="1000125" cy="218058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9855052"/>
              </a:avLst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Trafic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0B6C002-99EF-4773-AEFB-6E8F23044C52}"/>
              </a:ext>
            </a:extLst>
          </p:cNvPr>
          <p:cNvSpPr txBox="1"/>
          <p:nvPr/>
        </p:nvSpPr>
        <p:spPr>
          <a:xfrm rot="15013246">
            <a:off x="4409362" y="3520766"/>
            <a:ext cx="1297917" cy="536797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Performance du servic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B6E235AE-965F-4A51-981C-6B5AC738B5A5}"/>
              </a:ext>
            </a:extLst>
          </p:cNvPr>
          <p:cNvSpPr txBox="1"/>
          <p:nvPr/>
        </p:nvSpPr>
        <p:spPr>
          <a:xfrm rot="18085292">
            <a:off x="4531186" y="2564323"/>
            <a:ext cx="1187709" cy="456127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Economique et sociétal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34039A4D-8D41-4FB7-8449-40DC1A1F5A0F}"/>
              </a:ext>
            </a:extLst>
          </p:cNvPr>
          <p:cNvSpPr txBox="1"/>
          <p:nvPr/>
        </p:nvSpPr>
        <p:spPr>
          <a:xfrm rot="3290948">
            <a:off x="6549198" y="2518598"/>
            <a:ext cx="901228" cy="484406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Acceptabilité</a:t>
            </a: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6CE71FDE-A3F3-4AA5-B47F-7FF34A5A575D}"/>
              </a:ext>
            </a:extLst>
          </p:cNvPr>
          <p:cNvGrpSpPr/>
          <p:nvPr/>
        </p:nvGrpSpPr>
        <p:grpSpPr>
          <a:xfrm>
            <a:off x="5863041" y="2438407"/>
            <a:ext cx="229550" cy="215444"/>
            <a:chOff x="1663848" y="3025751"/>
            <a:chExt cx="229550" cy="215444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8D6CA708-FF19-4420-9899-3CF5BF1D57E2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B4DA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5DC777D9-EA2E-4981-8A3A-AB503D4A7C9C}"/>
                </a:ext>
              </a:extLst>
            </p:cNvPr>
            <p:cNvSpPr txBox="1"/>
            <p:nvPr/>
          </p:nvSpPr>
          <p:spPr>
            <a:xfrm>
              <a:off x="1663848" y="3025751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</a:t>
              </a:r>
            </a:p>
          </p:txBody>
        </p:sp>
      </p:grpSp>
      <p:grpSp>
        <p:nvGrpSpPr>
          <p:cNvPr id="35" name="Groupe 34">
            <a:extLst>
              <a:ext uri="{FF2B5EF4-FFF2-40B4-BE49-F238E27FC236}">
                <a16:creationId xmlns:a16="http://schemas.microsoft.com/office/drawing/2014/main" id="{717E2C16-A405-4F3C-8B56-5AC672F16D67}"/>
              </a:ext>
            </a:extLst>
          </p:cNvPr>
          <p:cNvGrpSpPr/>
          <p:nvPr/>
        </p:nvGrpSpPr>
        <p:grpSpPr>
          <a:xfrm>
            <a:off x="6079927" y="2438407"/>
            <a:ext cx="229550" cy="215444"/>
            <a:chOff x="1663848" y="3025751"/>
            <a:chExt cx="229550" cy="215444"/>
          </a:xfrm>
        </p:grpSpPr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7B3950DC-ACEF-4D9E-9450-5DECB6677B23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B4DA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37" name="ZoneTexte 36">
              <a:extLst>
                <a:ext uri="{FF2B5EF4-FFF2-40B4-BE49-F238E27FC236}">
                  <a16:creationId xmlns:a16="http://schemas.microsoft.com/office/drawing/2014/main" id="{69249720-D2FE-45F2-B447-D774D07844E8}"/>
                </a:ext>
              </a:extLst>
            </p:cNvPr>
            <p:cNvSpPr txBox="1"/>
            <p:nvPr/>
          </p:nvSpPr>
          <p:spPr>
            <a:xfrm>
              <a:off x="1663848" y="3025751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2</a:t>
              </a:r>
            </a:p>
          </p:txBody>
        </p: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BF8BF8E6-8821-4AE3-BE79-328FA859F73D}"/>
              </a:ext>
            </a:extLst>
          </p:cNvPr>
          <p:cNvGrpSpPr/>
          <p:nvPr/>
        </p:nvGrpSpPr>
        <p:grpSpPr>
          <a:xfrm>
            <a:off x="6663276" y="2753766"/>
            <a:ext cx="229550" cy="215444"/>
            <a:chOff x="1663848" y="3019641"/>
            <a:chExt cx="229550" cy="215444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E8729345-D628-4FCF-BA98-F21308F34159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69BBB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40" name="ZoneTexte 39">
              <a:extLst>
                <a:ext uri="{FF2B5EF4-FFF2-40B4-BE49-F238E27FC236}">
                  <a16:creationId xmlns:a16="http://schemas.microsoft.com/office/drawing/2014/main" id="{E3DDDB3B-6A6A-493E-8C0B-C23306355B0D}"/>
                </a:ext>
              </a:extLst>
            </p:cNvPr>
            <p:cNvSpPr txBox="1"/>
            <p:nvPr/>
          </p:nvSpPr>
          <p:spPr>
            <a:xfrm>
              <a:off x="1663848" y="3019641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3</a:t>
              </a:r>
            </a:p>
          </p:txBody>
        </p:sp>
      </p:grpSp>
      <p:grpSp>
        <p:nvGrpSpPr>
          <p:cNvPr id="41" name="Groupe 40">
            <a:extLst>
              <a:ext uri="{FF2B5EF4-FFF2-40B4-BE49-F238E27FC236}">
                <a16:creationId xmlns:a16="http://schemas.microsoft.com/office/drawing/2014/main" id="{C8D69163-4405-4884-8EF0-55EE8AAC6541}"/>
              </a:ext>
            </a:extLst>
          </p:cNvPr>
          <p:cNvGrpSpPr/>
          <p:nvPr/>
        </p:nvGrpSpPr>
        <p:grpSpPr>
          <a:xfrm>
            <a:off x="6872654" y="3470083"/>
            <a:ext cx="229550" cy="215444"/>
            <a:chOff x="1663848" y="3014629"/>
            <a:chExt cx="229550" cy="215444"/>
          </a:xfrm>
        </p:grpSpPr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757A86AF-0185-4312-A69E-96822644C10E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5595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43" name="ZoneTexte 42">
              <a:extLst>
                <a:ext uri="{FF2B5EF4-FFF2-40B4-BE49-F238E27FC236}">
                  <a16:creationId xmlns:a16="http://schemas.microsoft.com/office/drawing/2014/main" id="{15352BCE-7331-476D-A21D-C03A4D3354C7}"/>
                </a:ext>
              </a:extLst>
            </p:cNvPr>
            <p:cNvSpPr txBox="1"/>
            <p:nvPr/>
          </p:nvSpPr>
          <p:spPr>
            <a:xfrm>
              <a:off x="1663848" y="3014629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4</a:t>
              </a:r>
            </a:p>
          </p:txBody>
        </p:sp>
      </p:grpSp>
      <p:grpSp>
        <p:nvGrpSpPr>
          <p:cNvPr id="44" name="Groupe 43">
            <a:extLst>
              <a:ext uri="{FF2B5EF4-FFF2-40B4-BE49-F238E27FC236}">
                <a16:creationId xmlns:a16="http://schemas.microsoft.com/office/drawing/2014/main" id="{63208C00-63F3-47F0-AA7E-8D9C7D3144AF}"/>
              </a:ext>
            </a:extLst>
          </p:cNvPr>
          <p:cNvGrpSpPr/>
          <p:nvPr/>
        </p:nvGrpSpPr>
        <p:grpSpPr>
          <a:xfrm>
            <a:off x="6309477" y="4165612"/>
            <a:ext cx="229550" cy="215444"/>
            <a:chOff x="1663848" y="3019641"/>
            <a:chExt cx="229550" cy="215444"/>
          </a:xfrm>
        </p:grpSpPr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9A273375-7164-443C-8A0B-F0169E8E30E6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5596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46" name="ZoneTexte 45">
              <a:extLst>
                <a:ext uri="{FF2B5EF4-FFF2-40B4-BE49-F238E27FC236}">
                  <a16:creationId xmlns:a16="http://schemas.microsoft.com/office/drawing/2014/main" id="{8F5FA0A1-B512-404D-B29F-CA0202D31201}"/>
                </a:ext>
              </a:extLst>
            </p:cNvPr>
            <p:cNvSpPr txBox="1"/>
            <p:nvPr/>
          </p:nvSpPr>
          <p:spPr>
            <a:xfrm>
              <a:off x="1663848" y="3019641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6</a:t>
              </a:r>
            </a:p>
          </p:txBody>
        </p:sp>
      </p:grpSp>
      <p:grpSp>
        <p:nvGrpSpPr>
          <p:cNvPr id="47" name="Groupe 46">
            <a:extLst>
              <a:ext uri="{FF2B5EF4-FFF2-40B4-BE49-F238E27FC236}">
                <a16:creationId xmlns:a16="http://schemas.microsoft.com/office/drawing/2014/main" id="{5117D3F1-F938-41C6-9349-0BDD21D4D4C2}"/>
              </a:ext>
            </a:extLst>
          </p:cNvPr>
          <p:cNvGrpSpPr/>
          <p:nvPr/>
        </p:nvGrpSpPr>
        <p:grpSpPr>
          <a:xfrm>
            <a:off x="6528957" y="4044771"/>
            <a:ext cx="229550" cy="215444"/>
            <a:chOff x="1663848" y="3019641"/>
            <a:chExt cx="229550" cy="215444"/>
          </a:xfrm>
        </p:grpSpPr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CDC7760A-404E-4468-B817-E7FCCE673EC1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5596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49" name="ZoneTexte 48">
              <a:extLst>
                <a:ext uri="{FF2B5EF4-FFF2-40B4-BE49-F238E27FC236}">
                  <a16:creationId xmlns:a16="http://schemas.microsoft.com/office/drawing/2014/main" id="{D35A00CF-2395-4B1A-AD31-8A7F6076A9C6}"/>
                </a:ext>
              </a:extLst>
            </p:cNvPr>
            <p:cNvSpPr txBox="1"/>
            <p:nvPr/>
          </p:nvSpPr>
          <p:spPr>
            <a:xfrm>
              <a:off x="1663848" y="3019641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5</a:t>
              </a:r>
            </a:p>
          </p:txBody>
        </p:sp>
      </p:grpSp>
      <p:grpSp>
        <p:nvGrpSpPr>
          <p:cNvPr id="50" name="Groupe 49">
            <a:extLst>
              <a:ext uri="{FF2B5EF4-FFF2-40B4-BE49-F238E27FC236}">
                <a16:creationId xmlns:a16="http://schemas.microsoft.com/office/drawing/2014/main" id="{1AF17D54-3ED3-4298-853B-86CE7182F13C}"/>
              </a:ext>
            </a:extLst>
          </p:cNvPr>
          <p:cNvGrpSpPr/>
          <p:nvPr/>
        </p:nvGrpSpPr>
        <p:grpSpPr>
          <a:xfrm>
            <a:off x="5730229" y="4165612"/>
            <a:ext cx="229550" cy="215444"/>
            <a:chOff x="1661063" y="3014629"/>
            <a:chExt cx="229550" cy="215444"/>
          </a:xfrm>
        </p:grpSpPr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337B93D2-B3DA-4B02-9761-7D0CEE94A5AB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4384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52" name="ZoneTexte 51">
              <a:extLst>
                <a:ext uri="{FF2B5EF4-FFF2-40B4-BE49-F238E27FC236}">
                  <a16:creationId xmlns:a16="http://schemas.microsoft.com/office/drawing/2014/main" id="{2A4CB942-BB07-4CBD-86C0-95488C196121}"/>
                </a:ext>
              </a:extLst>
            </p:cNvPr>
            <p:cNvSpPr txBox="1"/>
            <p:nvPr/>
          </p:nvSpPr>
          <p:spPr>
            <a:xfrm>
              <a:off x="1661063" y="3014629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7</a:t>
              </a:r>
            </a:p>
          </p:txBody>
        </p:sp>
      </p:grpSp>
      <p:grpSp>
        <p:nvGrpSpPr>
          <p:cNvPr id="53" name="Groupe 52">
            <a:extLst>
              <a:ext uri="{FF2B5EF4-FFF2-40B4-BE49-F238E27FC236}">
                <a16:creationId xmlns:a16="http://schemas.microsoft.com/office/drawing/2014/main" id="{4E262D27-74A1-404A-A7FC-92FE1B5E8EDC}"/>
              </a:ext>
            </a:extLst>
          </p:cNvPr>
          <p:cNvGrpSpPr/>
          <p:nvPr/>
        </p:nvGrpSpPr>
        <p:grpSpPr>
          <a:xfrm>
            <a:off x="5139946" y="3577805"/>
            <a:ext cx="229550" cy="215444"/>
            <a:chOff x="1667003" y="3019641"/>
            <a:chExt cx="229550" cy="215444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EFE3DCCD-B036-4289-971A-3FC12FDF66F0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2155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55" name="ZoneTexte 54">
              <a:extLst>
                <a:ext uri="{FF2B5EF4-FFF2-40B4-BE49-F238E27FC236}">
                  <a16:creationId xmlns:a16="http://schemas.microsoft.com/office/drawing/2014/main" id="{EB6897DA-F79B-4510-83DD-45E4918ADEC8}"/>
                </a:ext>
              </a:extLst>
            </p:cNvPr>
            <p:cNvSpPr txBox="1"/>
            <p:nvPr/>
          </p:nvSpPr>
          <p:spPr>
            <a:xfrm>
              <a:off x="1667003" y="3019641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8</a:t>
              </a:r>
            </a:p>
          </p:txBody>
        </p:sp>
      </p:grpSp>
      <p:grpSp>
        <p:nvGrpSpPr>
          <p:cNvPr id="56" name="Groupe 55">
            <a:extLst>
              <a:ext uri="{FF2B5EF4-FFF2-40B4-BE49-F238E27FC236}">
                <a16:creationId xmlns:a16="http://schemas.microsoft.com/office/drawing/2014/main" id="{208EBF9F-92A8-49CC-9F1D-0F16906764F5}"/>
              </a:ext>
            </a:extLst>
          </p:cNvPr>
          <p:cNvGrpSpPr/>
          <p:nvPr/>
        </p:nvGrpSpPr>
        <p:grpSpPr>
          <a:xfrm>
            <a:off x="5114318" y="3144633"/>
            <a:ext cx="229550" cy="215444"/>
            <a:chOff x="1668741" y="3017834"/>
            <a:chExt cx="229550" cy="215444"/>
          </a:xfrm>
        </p:grpSpPr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B233D3D7-D568-4272-A719-3821F1DEEF87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35426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58" name="ZoneTexte 57">
              <a:extLst>
                <a:ext uri="{FF2B5EF4-FFF2-40B4-BE49-F238E27FC236}">
                  <a16:creationId xmlns:a16="http://schemas.microsoft.com/office/drawing/2014/main" id="{D699EFB3-7E15-47AA-9A19-DBEE4B7DF2FB}"/>
                </a:ext>
              </a:extLst>
            </p:cNvPr>
            <p:cNvSpPr txBox="1"/>
            <p:nvPr/>
          </p:nvSpPr>
          <p:spPr>
            <a:xfrm>
              <a:off x="1668741" y="3017834"/>
              <a:ext cx="229550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9</a:t>
              </a:r>
            </a:p>
          </p:txBody>
        </p:sp>
      </p:grpSp>
      <p:grpSp>
        <p:nvGrpSpPr>
          <p:cNvPr id="59" name="Groupe 58">
            <a:extLst>
              <a:ext uri="{FF2B5EF4-FFF2-40B4-BE49-F238E27FC236}">
                <a16:creationId xmlns:a16="http://schemas.microsoft.com/office/drawing/2014/main" id="{2A86EE2E-FC4B-4615-AC26-7F175CD84308}"/>
              </a:ext>
            </a:extLst>
          </p:cNvPr>
          <p:cNvGrpSpPr/>
          <p:nvPr/>
        </p:nvGrpSpPr>
        <p:grpSpPr>
          <a:xfrm>
            <a:off x="5156963" y="2933075"/>
            <a:ext cx="274434" cy="215444"/>
            <a:chOff x="1642722" y="3019796"/>
            <a:chExt cx="274434" cy="215444"/>
          </a:xfrm>
        </p:grpSpPr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A72A3157-E45A-4955-841D-0218B4A7B0BA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35426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61" name="ZoneTexte 60">
              <a:extLst>
                <a:ext uri="{FF2B5EF4-FFF2-40B4-BE49-F238E27FC236}">
                  <a16:creationId xmlns:a16="http://schemas.microsoft.com/office/drawing/2014/main" id="{D7711C69-6233-45CE-9E12-FA8D219659EA}"/>
                </a:ext>
              </a:extLst>
            </p:cNvPr>
            <p:cNvSpPr txBox="1"/>
            <p:nvPr/>
          </p:nvSpPr>
          <p:spPr>
            <a:xfrm>
              <a:off x="1642722" y="3019796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0</a:t>
              </a:r>
            </a:p>
          </p:txBody>
        </p:sp>
      </p:grpSp>
      <p:grpSp>
        <p:nvGrpSpPr>
          <p:cNvPr id="62" name="Groupe 61">
            <a:extLst>
              <a:ext uri="{FF2B5EF4-FFF2-40B4-BE49-F238E27FC236}">
                <a16:creationId xmlns:a16="http://schemas.microsoft.com/office/drawing/2014/main" id="{A1145557-C921-4E84-B62D-AFC41E02C8A4}"/>
              </a:ext>
            </a:extLst>
          </p:cNvPr>
          <p:cNvGrpSpPr/>
          <p:nvPr/>
        </p:nvGrpSpPr>
        <p:grpSpPr>
          <a:xfrm>
            <a:off x="5279205" y="2742073"/>
            <a:ext cx="274434" cy="215444"/>
            <a:chOff x="1642122" y="3019137"/>
            <a:chExt cx="274434" cy="215444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5D03FA62-8254-4AAF-90C1-119E71AC1994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35426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64" name="ZoneTexte 63">
              <a:extLst>
                <a:ext uri="{FF2B5EF4-FFF2-40B4-BE49-F238E27FC236}">
                  <a16:creationId xmlns:a16="http://schemas.microsoft.com/office/drawing/2014/main" id="{3FB22E82-CDAF-49BE-9E70-2374724419E2}"/>
                </a:ext>
              </a:extLst>
            </p:cNvPr>
            <p:cNvSpPr txBox="1"/>
            <p:nvPr/>
          </p:nvSpPr>
          <p:spPr>
            <a:xfrm>
              <a:off x="1642122" y="3019137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1</a:t>
              </a:r>
            </a:p>
          </p:txBody>
        </p:sp>
      </p:grpSp>
      <p:grpSp>
        <p:nvGrpSpPr>
          <p:cNvPr id="65" name="Groupe 64">
            <a:extLst>
              <a:ext uri="{FF2B5EF4-FFF2-40B4-BE49-F238E27FC236}">
                <a16:creationId xmlns:a16="http://schemas.microsoft.com/office/drawing/2014/main" id="{B18796A7-E732-4757-AA13-CCC07BCA5D93}"/>
              </a:ext>
            </a:extLst>
          </p:cNvPr>
          <p:cNvGrpSpPr/>
          <p:nvPr/>
        </p:nvGrpSpPr>
        <p:grpSpPr>
          <a:xfrm>
            <a:off x="5449136" y="2594701"/>
            <a:ext cx="274434" cy="215444"/>
            <a:chOff x="1638616" y="3021820"/>
            <a:chExt cx="274434" cy="215444"/>
          </a:xfrm>
        </p:grpSpPr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FBDE1893-757C-4FF3-8B88-A4352C3C1B97}"/>
                </a:ext>
              </a:extLst>
            </p:cNvPr>
            <p:cNvSpPr/>
            <p:nvPr/>
          </p:nvSpPr>
          <p:spPr>
            <a:xfrm>
              <a:off x="1684020" y="3032760"/>
              <a:ext cx="189206" cy="189206"/>
            </a:xfrm>
            <a:prstGeom prst="ellipse">
              <a:avLst/>
            </a:prstGeom>
            <a:solidFill>
              <a:srgbClr val="35426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67" name="ZoneTexte 66">
              <a:extLst>
                <a:ext uri="{FF2B5EF4-FFF2-40B4-BE49-F238E27FC236}">
                  <a16:creationId xmlns:a16="http://schemas.microsoft.com/office/drawing/2014/main" id="{18118752-A999-4215-AB34-68164A2D5490}"/>
                </a:ext>
              </a:extLst>
            </p:cNvPr>
            <p:cNvSpPr txBox="1"/>
            <p:nvPr/>
          </p:nvSpPr>
          <p:spPr>
            <a:xfrm>
              <a:off x="1638616" y="3021820"/>
              <a:ext cx="274434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8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2</a:t>
              </a:r>
            </a:p>
          </p:txBody>
        </p:sp>
      </p:grpSp>
      <p:grpSp>
        <p:nvGrpSpPr>
          <p:cNvPr id="75" name="Groupe 74">
            <a:extLst>
              <a:ext uri="{FF2B5EF4-FFF2-40B4-BE49-F238E27FC236}">
                <a16:creationId xmlns:a16="http://schemas.microsoft.com/office/drawing/2014/main" id="{015A11B5-8D6A-4ED8-8414-C4DE51D972A1}"/>
              </a:ext>
            </a:extLst>
          </p:cNvPr>
          <p:cNvGrpSpPr/>
          <p:nvPr/>
        </p:nvGrpSpPr>
        <p:grpSpPr>
          <a:xfrm>
            <a:off x="11256194" y="1087931"/>
            <a:ext cx="502060" cy="502060"/>
            <a:chOff x="11269980" y="1630456"/>
            <a:chExt cx="502060" cy="502060"/>
          </a:xfrm>
        </p:grpSpPr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6EAE05C0-66A1-4CAC-8F63-B364168B5545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B4DA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74" name="ZoneTexte 73">
              <a:extLst>
                <a:ext uri="{FF2B5EF4-FFF2-40B4-BE49-F238E27FC236}">
                  <a16:creationId xmlns:a16="http://schemas.microsoft.com/office/drawing/2014/main" id="{ECB53F3C-725A-42B4-86DB-B5E21FCB03FA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</a:t>
              </a:r>
            </a:p>
          </p:txBody>
        </p:sp>
      </p:grpSp>
      <p:grpSp>
        <p:nvGrpSpPr>
          <p:cNvPr id="76" name="Groupe 75">
            <a:extLst>
              <a:ext uri="{FF2B5EF4-FFF2-40B4-BE49-F238E27FC236}">
                <a16:creationId xmlns:a16="http://schemas.microsoft.com/office/drawing/2014/main" id="{3ABE0122-1D49-4A70-9662-7F4F657209F5}"/>
              </a:ext>
            </a:extLst>
          </p:cNvPr>
          <p:cNvGrpSpPr/>
          <p:nvPr/>
        </p:nvGrpSpPr>
        <p:grpSpPr>
          <a:xfrm>
            <a:off x="11256194" y="2021500"/>
            <a:ext cx="502060" cy="502060"/>
            <a:chOff x="11269980" y="1630456"/>
            <a:chExt cx="502060" cy="502060"/>
          </a:xfrm>
        </p:grpSpPr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9ACD1D75-B933-4663-B841-B30A5C3D5C87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B4DAC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78" name="ZoneTexte 77">
              <a:extLst>
                <a:ext uri="{FF2B5EF4-FFF2-40B4-BE49-F238E27FC236}">
                  <a16:creationId xmlns:a16="http://schemas.microsoft.com/office/drawing/2014/main" id="{A41DAF1B-F726-4A6D-9648-63B209A68ACD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2</a:t>
              </a:r>
            </a:p>
          </p:txBody>
        </p:sp>
      </p:grpSp>
      <p:grpSp>
        <p:nvGrpSpPr>
          <p:cNvPr id="79" name="Groupe 78">
            <a:extLst>
              <a:ext uri="{FF2B5EF4-FFF2-40B4-BE49-F238E27FC236}">
                <a16:creationId xmlns:a16="http://schemas.microsoft.com/office/drawing/2014/main" id="{6901247E-55AD-480F-BEF9-C2BF70E8DEB7}"/>
              </a:ext>
            </a:extLst>
          </p:cNvPr>
          <p:cNvGrpSpPr/>
          <p:nvPr/>
        </p:nvGrpSpPr>
        <p:grpSpPr>
          <a:xfrm>
            <a:off x="11256194" y="2955069"/>
            <a:ext cx="502060" cy="502060"/>
            <a:chOff x="11269980" y="1630456"/>
            <a:chExt cx="502060" cy="502060"/>
          </a:xfrm>
        </p:grpSpPr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68FD9B15-C217-4EAB-B75E-B80A8FD793A3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69BBB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81" name="ZoneTexte 80">
              <a:extLst>
                <a:ext uri="{FF2B5EF4-FFF2-40B4-BE49-F238E27FC236}">
                  <a16:creationId xmlns:a16="http://schemas.microsoft.com/office/drawing/2014/main" id="{B3521B8B-E699-4D7E-BCFA-09BCBB17507E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3</a:t>
              </a:r>
            </a:p>
          </p:txBody>
        </p:sp>
      </p:grpSp>
      <p:grpSp>
        <p:nvGrpSpPr>
          <p:cNvPr id="82" name="Groupe 81">
            <a:extLst>
              <a:ext uri="{FF2B5EF4-FFF2-40B4-BE49-F238E27FC236}">
                <a16:creationId xmlns:a16="http://schemas.microsoft.com/office/drawing/2014/main" id="{3C38349B-C33F-410A-8C85-43330B54F821}"/>
              </a:ext>
            </a:extLst>
          </p:cNvPr>
          <p:cNvGrpSpPr/>
          <p:nvPr/>
        </p:nvGrpSpPr>
        <p:grpSpPr>
          <a:xfrm>
            <a:off x="11256194" y="3888638"/>
            <a:ext cx="502060" cy="502060"/>
            <a:chOff x="11269980" y="1630456"/>
            <a:chExt cx="502060" cy="502060"/>
          </a:xfrm>
        </p:grpSpPr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321F045D-57AC-413E-9789-0A0837432C95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5595A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84" name="ZoneTexte 83">
              <a:extLst>
                <a:ext uri="{FF2B5EF4-FFF2-40B4-BE49-F238E27FC236}">
                  <a16:creationId xmlns:a16="http://schemas.microsoft.com/office/drawing/2014/main" id="{B52074B0-D859-42B3-B948-783A078A1D9C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4</a:t>
              </a:r>
            </a:p>
          </p:txBody>
        </p:sp>
      </p:grpSp>
      <p:grpSp>
        <p:nvGrpSpPr>
          <p:cNvPr id="85" name="Groupe 84">
            <a:extLst>
              <a:ext uri="{FF2B5EF4-FFF2-40B4-BE49-F238E27FC236}">
                <a16:creationId xmlns:a16="http://schemas.microsoft.com/office/drawing/2014/main" id="{D8329710-A993-41F0-83E6-E14B2E472127}"/>
              </a:ext>
            </a:extLst>
          </p:cNvPr>
          <p:cNvGrpSpPr/>
          <p:nvPr/>
        </p:nvGrpSpPr>
        <p:grpSpPr>
          <a:xfrm>
            <a:off x="11256194" y="4822207"/>
            <a:ext cx="502060" cy="502060"/>
            <a:chOff x="11269980" y="1630456"/>
            <a:chExt cx="502060" cy="502060"/>
          </a:xfrm>
        </p:grpSpPr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ACF60661-8B34-49C7-84B5-E50CEED75C68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5596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87" name="ZoneTexte 86">
              <a:extLst>
                <a:ext uri="{FF2B5EF4-FFF2-40B4-BE49-F238E27FC236}">
                  <a16:creationId xmlns:a16="http://schemas.microsoft.com/office/drawing/2014/main" id="{89A586E5-E77A-45F5-B5D8-D11C62CC1B8A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5</a:t>
              </a:r>
            </a:p>
          </p:txBody>
        </p:sp>
      </p:grpSp>
      <p:grpSp>
        <p:nvGrpSpPr>
          <p:cNvPr id="88" name="Groupe 87">
            <a:extLst>
              <a:ext uri="{FF2B5EF4-FFF2-40B4-BE49-F238E27FC236}">
                <a16:creationId xmlns:a16="http://schemas.microsoft.com/office/drawing/2014/main" id="{8810F8BB-9F03-4FA1-BBA7-65754A31E893}"/>
              </a:ext>
            </a:extLst>
          </p:cNvPr>
          <p:cNvGrpSpPr/>
          <p:nvPr/>
        </p:nvGrpSpPr>
        <p:grpSpPr>
          <a:xfrm>
            <a:off x="11259561" y="5755775"/>
            <a:ext cx="502060" cy="502060"/>
            <a:chOff x="11269980" y="1630456"/>
            <a:chExt cx="502060" cy="502060"/>
          </a:xfrm>
        </p:grpSpPr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073935EC-678D-4949-BC67-A844C24AD5E7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5596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90" name="ZoneTexte 89">
              <a:extLst>
                <a:ext uri="{FF2B5EF4-FFF2-40B4-BE49-F238E27FC236}">
                  <a16:creationId xmlns:a16="http://schemas.microsoft.com/office/drawing/2014/main" id="{491C1B16-8F43-4907-84C3-2325214B5EE9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6</a:t>
              </a:r>
            </a:p>
          </p:txBody>
        </p:sp>
      </p:grpSp>
      <p:cxnSp>
        <p:nvCxnSpPr>
          <p:cNvPr id="92" name="Connecteur droit 91">
            <a:extLst>
              <a:ext uri="{FF2B5EF4-FFF2-40B4-BE49-F238E27FC236}">
                <a16:creationId xmlns:a16="http://schemas.microsoft.com/office/drawing/2014/main" id="{F7926A7D-2AB4-415B-8809-A6D616547179}"/>
              </a:ext>
            </a:extLst>
          </p:cNvPr>
          <p:cNvCxnSpPr>
            <a:cxnSpLocks/>
          </p:cNvCxnSpPr>
          <p:nvPr/>
        </p:nvCxnSpPr>
        <p:spPr>
          <a:xfrm>
            <a:off x="8562886" y="1653500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97" name="Connecteur droit 96">
            <a:extLst>
              <a:ext uri="{FF2B5EF4-FFF2-40B4-BE49-F238E27FC236}">
                <a16:creationId xmlns:a16="http://schemas.microsoft.com/office/drawing/2014/main" id="{1232E065-5015-406A-90FF-329D485F85D5}"/>
              </a:ext>
            </a:extLst>
          </p:cNvPr>
          <p:cNvCxnSpPr>
            <a:cxnSpLocks/>
          </p:cNvCxnSpPr>
          <p:nvPr/>
        </p:nvCxnSpPr>
        <p:spPr>
          <a:xfrm>
            <a:off x="8562886" y="2585863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8" name="ZoneTexte 97">
            <a:extLst>
              <a:ext uri="{FF2B5EF4-FFF2-40B4-BE49-F238E27FC236}">
                <a16:creationId xmlns:a16="http://schemas.microsoft.com/office/drawing/2014/main" id="{43881946-78CE-4B1F-B85E-C08D4B0721CD}"/>
              </a:ext>
            </a:extLst>
          </p:cNvPr>
          <p:cNvSpPr txBox="1"/>
          <p:nvPr/>
        </p:nvSpPr>
        <p:spPr>
          <a:xfrm>
            <a:off x="8673981" y="1037244"/>
            <a:ext cx="25822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fr-FR" sz="1100" b="1" kern="0" dirty="0">
                <a:latin typeface="Univers Condensed" panose="020B0506020202050204" pitchFamily="34" charset="0"/>
              </a:rPr>
              <a:t>Validation de la sécurité</a:t>
            </a:r>
          </a:p>
          <a:p>
            <a:r>
              <a:rPr lang="fr-FR" sz="1050" kern="0" dirty="0">
                <a:latin typeface="Univers Condensed Light" panose="020B0306020202040204" pitchFamily="34" charset="0"/>
              </a:rPr>
              <a:t>Quels sont les scenarios pertinents pour la validation de la sécurité?</a:t>
            </a:r>
          </a:p>
        </p:txBody>
      </p:sp>
      <p:sp>
        <p:nvSpPr>
          <p:cNvPr id="99" name="ZoneTexte 98">
            <a:extLst>
              <a:ext uri="{FF2B5EF4-FFF2-40B4-BE49-F238E27FC236}">
                <a16:creationId xmlns:a16="http://schemas.microsoft.com/office/drawing/2014/main" id="{6C671AD5-FC78-4C61-B422-A10399806D78}"/>
              </a:ext>
            </a:extLst>
          </p:cNvPr>
          <p:cNvSpPr txBox="1"/>
          <p:nvPr/>
        </p:nvSpPr>
        <p:spPr>
          <a:xfrm>
            <a:off x="8673980" y="2053471"/>
            <a:ext cx="2582213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fr-FR" sz="1100" b="1" kern="0" dirty="0">
                <a:latin typeface="Univers Condensed" panose="020B0506020202050204" pitchFamily="34" charset="0"/>
              </a:rPr>
              <a:t>Domaines d’emploi atteignables </a:t>
            </a:r>
          </a:p>
          <a:p>
            <a:r>
              <a:rPr lang="fr-FR" sz="1000" kern="0" dirty="0">
                <a:latin typeface="Univers Condensed Light" panose="020B0306020202040204" pitchFamily="34" charset="0"/>
              </a:rPr>
              <a:t>Quel est l'ODD atteignable par le système véhicule/infrastructure?</a:t>
            </a:r>
          </a:p>
        </p:txBody>
      </p:sp>
      <p:grpSp>
        <p:nvGrpSpPr>
          <p:cNvPr id="101" name="Groupe 100">
            <a:extLst>
              <a:ext uri="{FF2B5EF4-FFF2-40B4-BE49-F238E27FC236}">
                <a16:creationId xmlns:a16="http://schemas.microsoft.com/office/drawing/2014/main" id="{4146E705-9DAD-4316-BBA2-D76D5289E097}"/>
              </a:ext>
            </a:extLst>
          </p:cNvPr>
          <p:cNvGrpSpPr/>
          <p:nvPr/>
        </p:nvGrpSpPr>
        <p:grpSpPr>
          <a:xfrm>
            <a:off x="546228" y="1098612"/>
            <a:ext cx="502060" cy="502060"/>
            <a:chOff x="11269980" y="1630456"/>
            <a:chExt cx="502060" cy="502060"/>
          </a:xfrm>
        </p:grpSpPr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1ABA258E-3002-48D7-95AE-0AE574F57B72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4384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03" name="ZoneTexte 102">
              <a:extLst>
                <a:ext uri="{FF2B5EF4-FFF2-40B4-BE49-F238E27FC236}">
                  <a16:creationId xmlns:a16="http://schemas.microsoft.com/office/drawing/2014/main" id="{5018259D-F0A1-43AE-A2AF-465F8586EC61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7</a:t>
              </a:r>
            </a:p>
          </p:txBody>
        </p:sp>
      </p:grpSp>
      <p:grpSp>
        <p:nvGrpSpPr>
          <p:cNvPr id="104" name="Groupe 103">
            <a:extLst>
              <a:ext uri="{FF2B5EF4-FFF2-40B4-BE49-F238E27FC236}">
                <a16:creationId xmlns:a16="http://schemas.microsoft.com/office/drawing/2014/main" id="{C4A9D2E2-1213-405D-AA2E-A8F880D2E7C1}"/>
              </a:ext>
            </a:extLst>
          </p:cNvPr>
          <p:cNvGrpSpPr/>
          <p:nvPr/>
        </p:nvGrpSpPr>
        <p:grpSpPr>
          <a:xfrm>
            <a:off x="546228" y="2024826"/>
            <a:ext cx="502060" cy="502060"/>
            <a:chOff x="11269980" y="1630456"/>
            <a:chExt cx="502060" cy="502060"/>
          </a:xfrm>
          <a:solidFill>
            <a:srgbClr val="1F449C"/>
          </a:solidFill>
        </p:grpSpPr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7D80BB5F-4F25-4423-9A31-86A45AB8402D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2155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06" name="ZoneTexte 105">
              <a:extLst>
                <a:ext uri="{FF2B5EF4-FFF2-40B4-BE49-F238E27FC236}">
                  <a16:creationId xmlns:a16="http://schemas.microsoft.com/office/drawing/2014/main" id="{C2F71E5C-CD15-436E-B359-B204760E264D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8</a:t>
              </a:r>
            </a:p>
          </p:txBody>
        </p:sp>
      </p:grpSp>
      <p:grpSp>
        <p:nvGrpSpPr>
          <p:cNvPr id="107" name="Groupe 106">
            <a:extLst>
              <a:ext uri="{FF2B5EF4-FFF2-40B4-BE49-F238E27FC236}">
                <a16:creationId xmlns:a16="http://schemas.microsoft.com/office/drawing/2014/main" id="{B22BCAD2-4B9D-4C35-8684-4F8BBE1D40EE}"/>
              </a:ext>
            </a:extLst>
          </p:cNvPr>
          <p:cNvGrpSpPr/>
          <p:nvPr/>
        </p:nvGrpSpPr>
        <p:grpSpPr>
          <a:xfrm>
            <a:off x="546228" y="2951040"/>
            <a:ext cx="502060" cy="502060"/>
            <a:chOff x="11269980" y="1630456"/>
            <a:chExt cx="502060" cy="502060"/>
          </a:xfrm>
        </p:grpSpPr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569A263C-9863-40E9-991D-124206E28B7E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21336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09" name="ZoneTexte 108">
              <a:extLst>
                <a:ext uri="{FF2B5EF4-FFF2-40B4-BE49-F238E27FC236}">
                  <a16:creationId xmlns:a16="http://schemas.microsoft.com/office/drawing/2014/main" id="{1425D22D-3F19-4FD4-B7F7-0F07C35C6083}"/>
                </a:ext>
              </a:extLst>
            </p:cNvPr>
            <p:cNvSpPr txBox="1"/>
            <p:nvPr/>
          </p:nvSpPr>
          <p:spPr>
            <a:xfrm>
              <a:off x="11388602" y="1727597"/>
              <a:ext cx="26481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9</a:t>
              </a:r>
            </a:p>
          </p:txBody>
        </p:sp>
      </p:grpSp>
      <p:grpSp>
        <p:nvGrpSpPr>
          <p:cNvPr id="110" name="Groupe 109">
            <a:extLst>
              <a:ext uri="{FF2B5EF4-FFF2-40B4-BE49-F238E27FC236}">
                <a16:creationId xmlns:a16="http://schemas.microsoft.com/office/drawing/2014/main" id="{88C0D1BE-E665-41DC-A655-A1278DAE5151}"/>
              </a:ext>
            </a:extLst>
          </p:cNvPr>
          <p:cNvGrpSpPr/>
          <p:nvPr/>
        </p:nvGrpSpPr>
        <p:grpSpPr>
          <a:xfrm>
            <a:off x="546228" y="3877254"/>
            <a:ext cx="502060" cy="502060"/>
            <a:chOff x="11269980" y="1630456"/>
            <a:chExt cx="502060" cy="502060"/>
          </a:xfrm>
        </p:grpSpPr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1DCE3813-7D0B-4A3F-9091-D1F65C9E0EBF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21336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12" name="ZoneTexte 111">
              <a:extLst>
                <a:ext uri="{FF2B5EF4-FFF2-40B4-BE49-F238E27FC236}">
                  <a16:creationId xmlns:a16="http://schemas.microsoft.com/office/drawing/2014/main" id="{B6419ADD-8150-4224-BCDE-70CEB9520FDF}"/>
                </a:ext>
              </a:extLst>
            </p:cNvPr>
            <p:cNvSpPr txBox="1"/>
            <p:nvPr/>
          </p:nvSpPr>
          <p:spPr>
            <a:xfrm>
              <a:off x="11348527" y="1727597"/>
              <a:ext cx="344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0</a:t>
              </a:r>
            </a:p>
          </p:txBody>
        </p:sp>
      </p:grpSp>
      <p:grpSp>
        <p:nvGrpSpPr>
          <p:cNvPr id="113" name="Groupe 112">
            <a:extLst>
              <a:ext uri="{FF2B5EF4-FFF2-40B4-BE49-F238E27FC236}">
                <a16:creationId xmlns:a16="http://schemas.microsoft.com/office/drawing/2014/main" id="{934EEF66-42DE-4B93-8612-902FCD2A482A}"/>
              </a:ext>
            </a:extLst>
          </p:cNvPr>
          <p:cNvGrpSpPr/>
          <p:nvPr/>
        </p:nvGrpSpPr>
        <p:grpSpPr>
          <a:xfrm>
            <a:off x="546228" y="4803468"/>
            <a:ext cx="502060" cy="502060"/>
            <a:chOff x="11269980" y="1630456"/>
            <a:chExt cx="502060" cy="502060"/>
          </a:xfrm>
        </p:grpSpPr>
        <p:sp>
          <p:nvSpPr>
            <p:cNvPr id="114" name="Ellipse 113">
              <a:extLst>
                <a:ext uri="{FF2B5EF4-FFF2-40B4-BE49-F238E27FC236}">
                  <a16:creationId xmlns:a16="http://schemas.microsoft.com/office/drawing/2014/main" id="{6C4156E8-136F-42FB-B31F-F80808B3816B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21336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15" name="ZoneTexte 114">
              <a:extLst>
                <a:ext uri="{FF2B5EF4-FFF2-40B4-BE49-F238E27FC236}">
                  <a16:creationId xmlns:a16="http://schemas.microsoft.com/office/drawing/2014/main" id="{76595F9C-33B5-4A6B-84AF-628BBDF19DA8}"/>
                </a:ext>
              </a:extLst>
            </p:cNvPr>
            <p:cNvSpPr txBox="1"/>
            <p:nvPr/>
          </p:nvSpPr>
          <p:spPr>
            <a:xfrm>
              <a:off x="11348527" y="1727597"/>
              <a:ext cx="344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1</a:t>
              </a:r>
            </a:p>
          </p:txBody>
        </p:sp>
      </p:grpSp>
      <p:grpSp>
        <p:nvGrpSpPr>
          <p:cNvPr id="116" name="Groupe 115">
            <a:extLst>
              <a:ext uri="{FF2B5EF4-FFF2-40B4-BE49-F238E27FC236}">
                <a16:creationId xmlns:a16="http://schemas.microsoft.com/office/drawing/2014/main" id="{7F430847-E16A-4DAD-8FF1-1784127A008D}"/>
              </a:ext>
            </a:extLst>
          </p:cNvPr>
          <p:cNvGrpSpPr/>
          <p:nvPr/>
        </p:nvGrpSpPr>
        <p:grpSpPr>
          <a:xfrm>
            <a:off x="546228" y="5729684"/>
            <a:ext cx="502060" cy="502060"/>
            <a:chOff x="11269980" y="1630456"/>
            <a:chExt cx="502060" cy="502060"/>
          </a:xfrm>
        </p:grpSpPr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E088BF77-C379-4B50-B3D7-FB33A1DFB3ED}"/>
                </a:ext>
              </a:extLst>
            </p:cNvPr>
            <p:cNvSpPr/>
            <p:nvPr/>
          </p:nvSpPr>
          <p:spPr>
            <a:xfrm>
              <a:off x="11269980" y="1630456"/>
              <a:ext cx="502060" cy="502060"/>
            </a:xfrm>
            <a:prstGeom prst="ellipse">
              <a:avLst/>
            </a:prstGeom>
            <a:solidFill>
              <a:srgbClr val="21336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>
              <a:spAutoFit/>
            </a:bodyPr>
            <a:lstStyle/>
            <a:p>
              <a:pPr algn="ctr"/>
              <a:endParaRPr lang="fr-FR" sz="1600" dirty="0">
                <a:solidFill>
                  <a:srgbClr val="29385A"/>
                </a:solidFill>
                <a:latin typeface="Univers Condensed" panose="020B0506020202050204" pitchFamily="34" charset="0"/>
              </a:endParaRPr>
            </a:p>
          </p:txBody>
        </p:sp>
        <p:sp>
          <p:nvSpPr>
            <p:cNvPr id="118" name="ZoneTexte 117">
              <a:extLst>
                <a:ext uri="{FF2B5EF4-FFF2-40B4-BE49-F238E27FC236}">
                  <a16:creationId xmlns:a16="http://schemas.microsoft.com/office/drawing/2014/main" id="{89F8C2C6-82BF-41F5-99CC-2776A904173D}"/>
                </a:ext>
              </a:extLst>
            </p:cNvPr>
            <p:cNvSpPr txBox="1"/>
            <p:nvPr/>
          </p:nvSpPr>
          <p:spPr>
            <a:xfrm>
              <a:off x="11350437" y="1727597"/>
              <a:ext cx="34496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400" b="1" dirty="0">
                  <a:solidFill>
                    <a:schemeClr val="bg1"/>
                  </a:solidFill>
                  <a:latin typeface="Univers Condensed" panose="020B0506020202050204" pitchFamily="34" charset="0"/>
                </a:rPr>
                <a:t>12</a:t>
              </a:r>
            </a:p>
          </p:txBody>
        </p:sp>
      </p:grpSp>
      <p:cxnSp>
        <p:nvCxnSpPr>
          <p:cNvPr id="119" name="Connecteur droit 118">
            <a:extLst>
              <a:ext uri="{FF2B5EF4-FFF2-40B4-BE49-F238E27FC236}">
                <a16:creationId xmlns:a16="http://schemas.microsoft.com/office/drawing/2014/main" id="{6A88F056-D046-48C6-B0B7-5EEA1943551C}"/>
              </a:ext>
            </a:extLst>
          </p:cNvPr>
          <p:cNvCxnSpPr>
            <a:cxnSpLocks/>
          </p:cNvCxnSpPr>
          <p:nvPr/>
        </p:nvCxnSpPr>
        <p:spPr>
          <a:xfrm>
            <a:off x="441470" y="1664181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0" name="Connecteur droit 119">
            <a:extLst>
              <a:ext uri="{FF2B5EF4-FFF2-40B4-BE49-F238E27FC236}">
                <a16:creationId xmlns:a16="http://schemas.microsoft.com/office/drawing/2014/main" id="{6C24350B-9A92-4724-AD38-55565561B0C2}"/>
              </a:ext>
            </a:extLst>
          </p:cNvPr>
          <p:cNvCxnSpPr>
            <a:cxnSpLocks/>
          </p:cNvCxnSpPr>
          <p:nvPr/>
        </p:nvCxnSpPr>
        <p:spPr>
          <a:xfrm>
            <a:off x="441470" y="2590777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1" name="ZoneTexte 120">
            <a:extLst>
              <a:ext uri="{FF2B5EF4-FFF2-40B4-BE49-F238E27FC236}">
                <a16:creationId xmlns:a16="http://schemas.microsoft.com/office/drawing/2014/main" id="{33521342-84EC-4077-B80E-02B6EB674A46}"/>
              </a:ext>
            </a:extLst>
          </p:cNvPr>
          <p:cNvSpPr txBox="1"/>
          <p:nvPr/>
        </p:nvSpPr>
        <p:spPr>
          <a:xfrm>
            <a:off x="1048288" y="1040080"/>
            <a:ext cx="2587450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/>
            <a:r>
              <a:rPr lang="fr-FR" sz="1100" b="1" kern="0" dirty="0">
                <a:latin typeface="Univers Condensed" panose="020B0506020202050204" pitchFamily="34" charset="0"/>
              </a:rPr>
              <a:t>Impact du véhicule autonome sur le trafic</a:t>
            </a:r>
          </a:p>
          <a:p>
            <a:pPr algn="r"/>
            <a:r>
              <a:rPr lang="fr-FR" sz="1000" kern="0" dirty="0">
                <a:latin typeface="Univers Condensed Light" panose="020B0306020202040204" pitchFamily="34" charset="0"/>
              </a:rPr>
              <a:t>Comment le VA s'insère-t-il dans le trafic en condition réelle?</a:t>
            </a:r>
          </a:p>
        </p:txBody>
      </p:sp>
      <p:sp>
        <p:nvSpPr>
          <p:cNvPr id="122" name="ZoneTexte 121">
            <a:extLst>
              <a:ext uri="{FF2B5EF4-FFF2-40B4-BE49-F238E27FC236}">
                <a16:creationId xmlns:a16="http://schemas.microsoft.com/office/drawing/2014/main" id="{2CC7B061-4E33-4DD6-A8BC-7F42360A433D}"/>
              </a:ext>
            </a:extLst>
          </p:cNvPr>
          <p:cNvSpPr txBox="1"/>
          <p:nvPr/>
        </p:nvSpPr>
        <p:spPr>
          <a:xfrm>
            <a:off x="1040760" y="2054215"/>
            <a:ext cx="2588550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/>
            <a:r>
              <a:rPr lang="fr-FR" sz="1100" b="1" kern="0" dirty="0">
                <a:latin typeface="Univers Condensed" panose="020B0506020202050204" pitchFamily="34" charset="0"/>
              </a:rPr>
              <a:t>Performance &amp; modélisation des services </a:t>
            </a:r>
          </a:p>
          <a:p>
            <a:pPr algn="r"/>
            <a:r>
              <a:rPr lang="fr-FR" sz="1000" kern="0" dirty="0">
                <a:latin typeface="Univers Condensed Light" panose="020B0306020202040204" pitchFamily="34" charset="0"/>
              </a:rPr>
              <a:t>Quelles sont les performances du service expérimenté et du service cible?</a:t>
            </a:r>
          </a:p>
        </p:txBody>
      </p:sp>
      <p:cxnSp>
        <p:nvCxnSpPr>
          <p:cNvPr id="123" name="Connecteur droit 122">
            <a:extLst>
              <a:ext uri="{FF2B5EF4-FFF2-40B4-BE49-F238E27FC236}">
                <a16:creationId xmlns:a16="http://schemas.microsoft.com/office/drawing/2014/main" id="{11CA5C09-376D-4F99-9940-CDF7DE5E793D}"/>
              </a:ext>
            </a:extLst>
          </p:cNvPr>
          <p:cNvCxnSpPr>
            <a:cxnSpLocks/>
          </p:cNvCxnSpPr>
          <p:nvPr/>
        </p:nvCxnSpPr>
        <p:spPr>
          <a:xfrm>
            <a:off x="441470" y="3517373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4" name="ZoneTexte 123">
            <a:extLst>
              <a:ext uri="{FF2B5EF4-FFF2-40B4-BE49-F238E27FC236}">
                <a16:creationId xmlns:a16="http://schemas.microsoft.com/office/drawing/2014/main" id="{7F8B8BDA-0681-48CE-B411-5B99D39FBDE3}"/>
              </a:ext>
            </a:extLst>
          </p:cNvPr>
          <p:cNvSpPr txBox="1"/>
          <p:nvPr/>
        </p:nvSpPr>
        <p:spPr>
          <a:xfrm>
            <a:off x="1048288" y="2964401"/>
            <a:ext cx="25874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/>
            <a:r>
              <a:rPr lang="fr-FR" sz="1100" b="1" kern="0" dirty="0">
                <a:latin typeface="Univers Condensed" panose="020B0506020202050204" pitchFamily="34" charset="0"/>
              </a:rPr>
              <a:t>Analyse de la demande</a:t>
            </a:r>
          </a:p>
          <a:p>
            <a:pPr algn="r"/>
            <a:r>
              <a:rPr lang="fr-FR" sz="1000" kern="0" dirty="0">
                <a:latin typeface="Univers Condensed Light" panose="020B0306020202040204" pitchFamily="34" charset="0"/>
              </a:rPr>
              <a:t>Quel est l’impact du service sur la demande de déplacements?</a:t>
            </a:r>
          </a:p>
        </p:txBody>
      </p:sp>
      <p:cxnSp>
        <p:nvCxnSpPr>
          <p:cNvPr id="125" name="Connecteur droit 124">
            <a:extLst>
              <a:ext uri="{FF2B5EF4-FFF2-40B4-BE49-F238E27FC236}">
                <a16:creationId xmlns:a16="http://schemas.microsoft.com/office/drawing/2014/main" id="{E4C5D160-E528-48CD-82EB-049C1925BDAF}"/>
              </a:ext>
            </a:extLst>
          </p:cNvPr>
          <p:cNvCxnSpPr>
            <a:cxnSpLocks/>
          </p:cNvCxnSpPr>
          <p:nvPr/>
        </p:nvCxnSpPr>
        <p:spPr>
          <a:xfrm>
            <a:off x="8559519" y="3518226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6" name="ZoneTexte 125">
            <a:extLst>
              <a:ext uri="{FF2B5EF4-FFF2-40B4-BE49-F238E27FC236}">
                <a16:creationId xmlns:a16="http://schemas.microsoft.com/office/drawing/2014/main" id="{A4C44ECD-C2D8-499D-8169-2C61B288ABB8}"/>
              </a:ext>
            </a:extLst>
          </p:cNvPr>
          <p:cNvSpPr txBox="1"/>
          <p:nvPr/>
        </p:nvSpPr>
        <p:spPr>
          <a:xfrm>
            <a:off x="8670614" y="2934922"/>
            <a:ext cx="25855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fr-FR" sz="1100" b="1" kern="0" dirty="0">
                <a:latin typeface="Univers Condensed" panose="020B0506020202050204" pitchFamily="34" charset="0"/>
              </a:rPr>
              <a:t>Acceptabilité du service</a:t>
            </a:r>
          </a:p>
          <a:p>
            <a:r>
              <a:rPr lang="fr-FR" sz="1000" kern="0" dirty="0">
                <a:latin typeface="Univers Condensed Light" panose="020B0306020202040204" pitchFamily="34" charset="0"/>
              </a:rPr>
              <a:t>Comment est accueilli le service par ses utilisateurs et  les autres usagers de la route?</a:t>
            </a:r>
          </a:p>
        </p:txBody>
      </p:sp>
      <p:cxnSp>
        <p:nvCxnSpPr>
          <p:cNvPr id="127" name="Connecteur droit 126">
            <a:extLst>
              <a:ext uri="{FF2B5EF4-FFF2-40B4-BE49-F238E27FC236}">
                <a16:creationId xmlns:a16="http://schemas.microsoft.com/office/drawing/2014/main" id="{5F73A535-360B-4282-9819-FD6886A0593D}"/>
              </a:ext>
            </a:extLst>
          </p:cNvPr>
          <p:cNvCxnSpPr>
            <a:cxnSpLocks/>
          </p:cNvCxnSpPr>
          <p:nvPr/>
        </p:nvCxnSpPr>
        <p:spPr>
          <a:xfrm>
            <a:off x="436172" y="4443969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28" name="Connecteur droit 127">
            <a:extLst>
              <a:ext uri="{FF2B5EF4-FFF2-40B4-BE49-F238E27FC236}">
                <a16:creationId xmlns:a16="http://schemas.microsoft.com/office/drawing/2014/main" id="{FC2751C5-8521-4DCB-8FAF-35FD7BFC52AA}"/>
              </a:ext>
            </a:extLst>
          </p:cNvPr>
          <p:cNvCxnSpPr>
            <a:cxnSpLocks/>
          </p:cNvCxnSpPr>
          <p:nvPr/>
        </p:nvCxnSpPr>
        <p:spPr>
          <a:xfrm>
            <a:off x="436172" y="5370565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29" name="ZoneTexte 128">
            <a:extLst>
              <a:ext uri="{FF2B5EF4-FFF2-40B4-BE49-F238E27FC236}">
                <a16:creationId xmlns:a16="http://schemas.microsoft.com/office/drawing/2014/main" id="{978B7F5E-E100-4614-AE1A-7E74D9B23ED0}"/>
              </a:ext>
            </a:extLst>
          </p:cNvPr>
          <p:cNvSpPr txBox="1"/>
          <p:nvPr/>
        </p:nvSpPr>
        <p:spPr>
          <a:xfrm>
            <a:off x="1040760" y="3794539"/>
            <a:ext cx="25821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/>
            <a:r>
              <a:rPr lang="fr-FR" sz="1100" b="1" kern="0" dirty="0">
                <a:latin typeface="Univers Condensed" panose="020B0506020202050204" pitchFamily="34" charset="0"/>
              </a:rPr>
              <a:t>Bilans économiques et sociétaux</a:t>
            </a:r>
          </a:p>
          <a:p>
            <a:pPr algn="r"/>
            <a:r>
              <a:rPr lang="fr-FR" sz="1000" kern="0" dirty="0">
                <a:latin typeface="Univers Condensed Light" panose="020B0306020202040204" pitchFamily="34" charset="0"/>
              </a:rPr>
              <a:t>Quels sont les coûts et les bénéfices sociétaux du service déployé?</a:t>
            </a:r>
          </a:p>
        </p:txBody>
      </p:sp>
      <p:sp>
        <p:nvSpPr>
          <p:cNvPr id="130" name="ZoneTexte 129">
            <a:extLst>
              <a:ext uri="{FF2B5EF4-FFF2-40B4-BE49-F238E27FC236}">
                <a16:creationId xmlns:a16="http://schemas.microsoft.com/office/drawing/2014/main" id="{44085496-539B-435D-A4D9-80CC2A0E00E8}"/>
              </a:ext>
            </a:extLst>
          </p:cNvPr>
          <p:cNvSpPr txBox="1"/>
          <p:nvPr/>
        </p:nvSpPr>
        <p:spPr>
          <a:xfrm>
            <a:off x="1036270" y="4735511"/>
            <a:ext cx="25832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/>
            <a:r>
              <a:rPr lang="fr-FR" sz="1100" b="1" kern="0" dirty="0">
                <a:latin typeface="Univers Condensed" panose="020B0506020202050204" pitchFamily="34" charset="0"/>
              </a:rPr>
              <a:t>Modèles d’affaires  </a:t>
            </a:r>
          </a:p>
          <a:p>
            <a:pPr algn="r"/>
            <a:r>
              <a:rPr lang="fr-FR" sz="1000" kern="0" dirty="0">
                <a:latin typeface="Univers Condensed Light" panose="020B0306020202040204" pitchFamily="34" charset="0"/>
              </a:rPr>
              <a:t>Quels sont les coûts et les recettes attendus pour un service de VA?</a:t>
            </a:r>
          </a:p>
        </p:txBody>
      </p:sp>
      <p:cxnSp>
        <p:nvCxnSpPr>
          <p:cNvPr id="131" name="Connecteur droit 130">
            <a:extLst>
              <a:ext uri="{FF2B5EF4-FFF2-40B4-BE49-F238E27FC236}">
                <a16:creationId xmlns:a16="http://schemas.microsoft.com/office/drawing/2014/main" id="{FD9FB17A-1245-4EED-B2A3-BB0869009265}"/>
              </a:ext>
            </a:extLst>
          </p:cNvPr>
          <p:cNvCxnSpPr>
            <a:cxnSpLocks/>
          </p:cNvCxnSpPr>
          <p:nvPr/>
        </p:nvCxnSpPr>
        <p:spPr>
          <a:xfrm>
            <a:off x="436172" y="6297161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32" name="ZoneTexte 131">
            <a:extLst>
              <a:ext uri="{FF2B5EF4-FFF2-40B4-BE49-F238E27FC236}">
                <a16:creationId xmlns:a16="http://schemas.microsoft.com/office/drawing/2014/main" id="{D5283D64-D9F3-4B48-A982-0AC92BD29ACE}"/>
              </a:ext>
            </a:extLst>
          </p:cNvPr>
          <p:cNvSpPr txBox="1"/>
          <p:nvPr/>
        </p:nvSpPr>
        <p:spPr>
          <a:xfrm>
            <a:off x="1036270" y="5673060"/>
            <a:ext cx="25822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defTabSz="914400"/>
            <a:r>
              <a:rPr lang="fr-FR" sz="1100" b="1" kern="0" dirty="0">
                <a:latin typeface="Univers Condensed" panose="020B0506020202050204" pitchFamily="34" charset="0"/>
              </a:rPr>
              <a:t>Gouvernance</a:t>
            </a:r>
          </a:p>
          <a:p>
            <a:pPr algn="r"/>
            <a:r>
              <a:rPr lang="fr-FR" sz="1000" kern="0" dirty="0">
                <a:latin typeface="Univers Condensed Light" panose="020B0306020202040204" pitchFamily="34" charset="0"/>
              </a:rPr>
              <a:t>Comment s'organise le déploiement du VA localement et à l'échelle nationale?</a:t>
            </a:r>
          </a:p>
        </p:txBody>
      </p:sp>
      <p:cxnSp>
        <p:nvCxnSpPr>
          <p:cNvPr id="133" name="Connecteur droit 132">
            <a:extLst>
              <a:ext uri="{FF2B5EF4-FFF2-40B4-BE49-F238E27FC236}">
                <a16:creationId xmlns:a16="http://schemas.microsoft.com/office/drawing/2014/main" id="{5FF34DF1-E8D3-4238-B20B-79B0D0F85065}"/>
              </a:ext>
            </a:extLst>
          </p:cNvPr>
          <p:cNvCxnSpPr>
            <a:cxnSpLocks/>
          </p:cNvCxnSpPr>
          <p:nvPr/>
        </p:nvCxnSpPr>
        <p:spPr>
          <a:xfrm>
            <a:off x="8566253" y="4450589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4" name="Connecteur droit 133">
            <a:extLst>
              <a:ext uri="{FF2B5EF4-FFF2-40B4-BE49-F238E27FC236}">
                <a16:creationId xmlns:a16="http://schemas.microsoft.com/office/drawing/2014/main" id="{71F43F28-FBF0-4C0A-90B2-707952CD8E8C}"/>
              </a:ext>
            </a:extLst>
          </p:cNvPr>
          <p:cNvCxnSpPr>
            <a:cxnSpLocks/>
          </p:cNvCxnSpPr>
          <p:nvPr/>
        </p:nvCxnSpPr>
        <p:spPr>
          <a:xfrm>
            <a:off x="8566253" y="5382952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35" name="ZoneTexte 134">
            <a:extLst>
              <a:ext uri="{FF2B5EF4-FFF2-40B4-BE49-F238E27FC236}">
                <a16:creationId xmlns:a16="http://schemas.microsoft.com/office/drawing/2014/main" id="{768A6023-F4FF-4631-BC35-E0CD837F465C}"/>
              </a:ext>
            </a:extLst>
          </p:cNvPr>
          <p:cNvSpPr txBox="1"/>
          <p:nvPr/>
        </p:nvSpPr>
        <p:spPr>
          <a:xfrm>
            <a:off x="8653783" y="3549176"/>
            <a:ext cx="260523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fr-FR" sz="1100" b="1" kern="0" dirty="0">
                <a:latin typeface="Univers Condensed" panose="020B0506020202050204" pitchFamily="34" charset="0"/>
              </a:rPr>
              <a:t>Comportement des utilisateurs &amp; usagers de la route</a:t>
            </a:r>
          </a:p>
          <a:p>
            <a:r>
              <a:rPr lang="fr-FR" sz="1000" kern="0" dirty="0">
                <a:latin typeface="Univers Condensed Light" panose="020B0306020202040204" pitchFamily="34" charset="0"/>
              </a:rPr>
              <a:t>Quels sont les comportements des utilisateurs du service et des autres usagers de la route et leur impact sur la sécurité routière?</a:t>
            </a:r>
          </a:p>
        </p:txBody>
      </p:sp>
      <p:sp>
        <p:nvSpPr>
          <p:cNvPr id="136" name="ZoneTexte 135">
            <a:extLst>
              <a:ext uri="{FF2B5EF4-FFF2-40B4-BE49-F238E27FC236}">
                <a16:creationId xmlns:a16="http://schemas.microsoft.com/office/drawing/2014/main" id="{0417965D-587B-4086-8B25-2901AF356AA2}"/>
              </a:ext>
            </a:extLst>
          </p:cNvPr>
          <p:cNvSpPr txBox="1"/>
          <p:nvPr/>
        </p:nvSpPr>
        <p:spPr>
          <a:xfrm>
            <a:off x="8677348" y="4640798"/>
            <a:ext cx="25822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fr-FR" sz="1100" b="1" kern="0" dirty="0">
                <a:latin typeface="Univers Condensed" panose="020B0506020202050204" pitchFamily="34" charset="0"/>
              </a:rPr>
              <a:t>Analyse environnementale du véhicule autonome</a:t>
            </a:r>
          </a:p>
          <a:p>
            <a:r>
              <a:rPr lang="fr-FR" sz="1000" kern="0" dirty="0">
                <a:latin typeface="Univers Condensed Light" panose="020B0306020202040204" pitchFamily="34" charset="0"/>
              </a:rPr>
              <a:t>Quelles sont les caractéristiques environnementales du véhicule autonome?</a:t>
            </a:r>
          </a:p>
        </p:txBody>
      </p:sp>
      <p:cxnSp>
        <p:nvCxnSpPr>
          <p:cNvPr id="137" name="Connecteur droit 136">
            <a:extLst>
              <a:ext uri="{FF2B5EF4-FFF2-40B4-BE49-F238E27FC236}">
                <a16:creationId xmlns:a16="http://schemas.microsoft.com/office/drawing/2014/main" id="{DD7E3BF9-ECCD-45B5-95B7-03CA6AC1C74B}"/>
              </a:ext>
            </a:extLst>
          </p:cNvPr>
          <p:cNvCxnSpPr>
            <a:cxnSpLocks/>
          </p:cNvCxnSpPr>
          <p:nvPr/>
        </p:nvCxnSpPr>
        <p:spPr>
          <a:xfrm>
            <a:off x="8566253" y="6315314"/>
            <a:ext cx="319536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38" name="ZoneTexte 137">
            <a:extLst>
              <a:ext uri="{FF2B5EF4-FFF2-40B4-BE49-F238E27FC236}">
                <a16:creationId xmlns:a16="http://schemas.microsoft.com/office/drawing/2014/main" id="{FFA2BA76-68FA-42E8-8F01-08AF64A6F2E1}"/>
              </a:ext>
            </a:extLst>
          </p:cNvPr>
          <p:cNvSpPr txBox="1"/>
          <p:nvPr/>
        </p:nvSpPr>
        <p:spPr>
          <a:xfrm>
            <a:off x="8677347" y="5576650"/>
            <a:ext cx="258221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fr-FR" sz="1100" b="1" kern="0" dirty="0">
                <a:latin typeface="Univers Condensed" panose="020B0506020202050204" pitchFamily="34" charset="0"/>
              </a:rPr>
              <a:t>Impact environnemental du service à l’échelle </a:t>
            </a:r>
          </a:p>
          <a:p>
            <a:r>
              <a:rPr lang="fr-FR" sz="1000" kern="0" dirty="0">
                <a:latin typeface="Univers Condensed Light" panose="020B0306020202040204" pitchFamily="34" charset="0"/>
              </a:rPr>
              <a:t>Quelles sont les conséquence environnementales de la mise en place du service?</a:t>
            </a:r>
          </a:p>
        </p:txBody>
      </p:sp>
      <p:sp>
        <p:nvSpPr>
          <p:cNvPr id="149" name="ZoneTexte 148">
            <a:extLst>
              <a:ext uri="{FF2B5EF4-FFF2-40B4-BE49-F238E27FC236}">
                <a16:creationId xmlns:a16="http://schemas.microsoft.com/office/drawing/2014/main" id="{B5CB1072-64AA-4678-A5A0-7870E4AF8F59}"/>
              </a:ext>
            </a:extLst>
          </p:cNvPr>
          <p:cNvSpPr txBox="1"/>
          <p:nvPr/>
        </p:nvSpPr>
        <p:spPr>
          <a:xfrm>
            <a:off x="5551430" y="3245886"/>
            <a:ext cx="1092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b="1" dirty="0">
                <a:solidFill>
                  <a:srgbClr val="E4173F"/>
                </a:solidFill>
                <a:latin typeface="Univers Condensed" panose="020B0506020202050204" pitchFamily="34" charset="0"/>
              </a:rPr>
              <a:t>Evaluations</a:t>
            </a:r>
          </a:p>
        </p:txBody>
      </p:sp>
      <p:sp>
        <p:nvSpPr>
          <p:cNvPr id="150" name="ZoneTexte 149">
            <a:extLst>
              <a:ext uri="{FF2B5EF4-FFF2-40B4-BE49-F238E27FC236}">
                <a16:creationId xmlns:a16="http://schemas.microsoft.com/office/drawing/2014/main" id="{79F64C83-3C5B-434E-BF2D-8BD461F61D55}"/>
              </a:ext>
            </a:extLst>
          </p:cNvPr>
          <p:cNvSpPr txBox="1"/>
          <p:nvPr/>
        </p:nvSpPr>
        <p:spPr>
          <a:xfrm>
            <a:off x="5477878" y="2162273"/>
            <a:ext cx="1187709" cy="456127"/>
          </a:xfrm>
          <a:prstGeom prst="rect">
            <a:avLst/>
          </a:prstGeom>
          <a:noFill/>
        </p:spPr>
        <p:txBody>
          <a:bodyPr wrap="square" rtlCol="0">
            <a:prstTxWarp prst="textArchUp">
              <a:avLst/>
            </a:prstTxWarp>
            <a:spAutoFit/>
          </a:bodyPr>
          <a:lstStyle/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Sécurité et domaine</a:t>
            </a:r>
          </a:p>
          <a:p>
            <a:pPr lvl="0" algn="ctr"/>
            <a:r>
              <a:rPr lang="fr-FR" sz="900" b="1" dirty="0">
                <a:solidFill>
                  <a:schemeClr val="bg1"/>
                </a:solidFill>
                <a:latin typeface="Univers Condensed" panose="020B0506020202050204" pitchFamily="34" charset="0"/>
              </a:rPr>
              <a:t> d’emploi</a:t>
            </a:r>
          </a:p>
        </p:txBody>
      </p:sp>
      <p:sp>
        <p:nvSpPr>
          <p:cNvPr id="152" name="Titre 1">
            <a:extLst>
              <a:ext uri="{FF2B5EF4-FFF2-40B4-BE49-F238E27FC236}">
                <a16:creationId xmlns:a16="http://schemas.microsoft.com/office/drawing/2014/main" id="{1852301F-83FB-4CCD-9048-7B4B97CA932D}"/>
              </a:ext>
            </a:extLst>
          </p:cNvPr>
          <p:cNvSpPr txBox="1">
            <a:spLocks/>
          </p:cNvSpPr>
          <p:nvPr/>
        </p:nvSpPr>
        <p:spPr>
          <a:xfrm>
            <a:off x="576483" y="0"/>
            <a:ext cx="11017770" cy="1143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800" b="0" i="0" kern="1200" spc="100">
                <a:solidFill>
                  <a:srgbClr val="E4173F"/>
                </a:solidFill>
                <a:latin typeface="Roboto Condensed Light"/>
                <a:ea typeface="+mj-ea"/>
                <a:cs typeface="Roboto Condensed Light"/>
              </a:defRPr>
            </a:lvl1pPr>
          </a:lstStyle>
          <a:p>
            <a:r>
              <a:rPr lang="fr-FR" sz="2400" dirty="0">
                <a:solidFill>
                  <a:srgbClr val="312782"/>
                </a:solidFill>
                <a:latin typeface="Arial Black"/>
              </a:rPr>
              <a:t>Les expérimentations contribuent aux 12 domaines d’évaluation</a:t>
            </a:r>
          </a:p>
        </p:txBody>
      </p:sp>
    </p:spTree>
    <p:extLst>
      <p:ext uri="{BB962C8B-B14F-4D97-AF65-F5344CB8AC3E}">
        <p14:creationId xmlns:p14="http://schemas.microsoft.com/office/powerpoint/2010/main" val="1846041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e 51">
            <a:extLst>
              <a:ext uri="{FF2B5EF4-FFF2-40B4-BE49-F238E27FC236}">
                <a16:creationId xmlns:a16="http://schemas.microsoft.com/office/drawing/2014/main" id="{A8F7EB0C-1360-4AAD-9B26-10ED0334AC6F}"/>
              </a:ext>
            </a:extLst>
          </p:cNvPr>
          <p:cNvGrpSpPr/>
          <p:nvPr/>
        </p:nvGrpSpPr>
        <p:grpSpPr>
          <a:xfrm>
            <a:off x="3440490" y="1430856"/>
            <a:ext cx="4786816" cy="4616528"/>
            <a:chOff x="2795452" y="301669"/>
            <a:chExt cx="6592388" cy="6357869"/>
          </a:xfrm>
        </p:grpSpPr>
        <p:pic>
          <p:nvPicPr>
            <p:cNvPr id="53" name="Image 52">
              <a:extLst>
                <a:ext uri="{FF2B5EF4-FFF2-40B4-BE49-F238E27FC236}">
                  <a16:creationId xmlns:a16="http://schemas.microsoft.com/office/drawing/2014/main" id="{F5FBA877-1CBE-4137-A85C-6697B128FA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95452" y="301669"/>
              <a:ext cx="6592388" cy="6357869"/>
            </a:xfrm>
            <a:prstGeom prst="rect">
              <a:avLst/>
            </a:prstGeom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43761F8-FCD2-4131-A254-9704438FD487}"/>
                </a:ext>
              </a:extLst>
            </p:cNvPr>
            <p:cNvSpPr/>
            <p:nvPr/>
          </p:nvSpPr>
          <p:spPr>
            <a:xfrm>
              <a:off x="5010670" y="2678478"/>
              <a:ext cx="2655268" cy="1405194"/>
            </a:xfrm>
            <a:prstGeom prst="rect">
              <a:avLst/>
            </a:prstGeom>
            <a:solidFill>
              <a:sysClr val="window" lastClr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8" name="Graphique 57" descr="Voiture">
            <a:extLst>
              <a:ext uri="{FF2B5EF4-FFF2-40B4-BE49-F238E27FC236}">
                <a16:creationId xmlns:a16="http://schemas.microsoft.com/office/drawing/2014/main" id="{DAAAE732-4D77-45DC-8E8E-0781A84E0EA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99332" y="2805144"/>
            <a:ext cx="531352" cy="531354"/>
          </a:xfrm>
          <a:prstGeom prst="rect">
            <a:avLst/>
          </a:prstGeom>
        </p:spPr>
      </p:pic>
      <p:pic>
        <p:nvPicPr>
          <p:cNvPr id="61" name="Graphique 60" descr="Bus">
            <a:extLst>
              <a:ext uri="{FF2B5EF4-FFF2-40B4-BE49-F238E27FC236}">
                <a16:creationId xmlns:a16="http://schemas.microsoft.com/office/drawing/2014/main" id="{CC9B2288-7BC8-4EC9-9F68-A166C70AC71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73678" y="3893532"/>
            <a:ext cx="531354" cy="531354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4825091B-ADCD-4751-8573-530ED3657B99}"/>
              </a:ext>
            </a:extLst>
          </p:cNvPr>
          <p:cNvSpPr/>
          <p:nvPr/>
        </p:nvSpPr>
        <p:spPr>
          <a:xfrm>
            <a:off x="6022839" y="4271283"/>
            <a:ext cx="833033" cy="33724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dev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chy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2D6F706-7942-4B09-90FA-EA2161C4376A}"/>
              </a:ext>
            </a:extLst>
          </p:cNvPr>
          <p:cNvSpPr/>
          <p:nvPr/>
        </p:nvSpPr>
        <p:spPr>
          <a:xfrm>
            <a:off x="6629058" y="4981606"/>
            <a:ext cx="962749" cy="2864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winswHeel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tpellier</a:t>
            </a:r>
          </a:p>
        </p:txBody>
      </p:sp>
      <p:pic>
        <p:nvPicPr>
          <p:cNvPr id="67" name="Graphique 66" descr="Bus">
            <a:extLst>
              <a:ext uri="{FF2B5EF4-FFF2-40B4-BE49-F238E27FC236}">
                <a16:creationId xmlns:a16="http://schemas.microsoft.com/office/drawing/2014/main" id="{9BD91080-168A-40DD-8482-FFCA02904D2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84871" y="5231623"/>
            <a:ext cx="531354" cy="531354"/>
          </a:xfrm>
          <a:prstGeom prst="rect">
            <a:avLst/>
          </a:prstGeom>
        </p:spPr>
      </p:pic>
      <p:sp>
        <p:nvSpPr>
          <p:cNvPr id="68" name="Rectangle 67">
            <a:extLst>
              <a:ext uri="{FF2B5EF4-FFF2-40B4-BE49-F238E27FC236}">
                <a16:creationId xmlns:a16="http://schemas.microsoft.com/office/drawing/2014/main" id="{76CC4D09-1912-4A1A-9C45-D16EAE525247}"/>
              </a:ext>
            </a:extLst>
          </p:cNvPr>
          <p:cNvSpPr/>
          <p:nvPr/>
        </p:nvSpPr>
        <p:spPr>
          <a:xfrm>
            <a:off x="4692407" y="5702733"/>
            <a:ext cx="1623726" cy="427416"/>
          </a:xfrm>
          <a:prstGeom prst="rect">
            <a:avLst/>
          </a:prstGeom>
          <a:solidFill>
            <a:srgbClr val="FFFFFF">
              <a:alpha val="6980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syMile</a:t>
            </a: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Alstom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ulouse (</a:t>
            </a: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pôle</a:t>
            </a: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pic>
        <p:nvPicPr>
          <p:cNvPr id="78" name="Image 77">
            <a:extLst>
              <a:ext uri="{FF2B5EF4-FFF2-40B4-BE49-F238E27FC236}">
                <a16:creationId xmlns:a16="http://schemas.microsoft.com/office/drawing/2014/main" id="{19E84C66-583B-4B6F-BC54-E614EE919C9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1723" y="4937390"/>
            <a:ext cx="406328" cy="374842"/>
          </a:xfrm>
          <a:prstGeom prst="rect">
            <a:avLst/>
          </a:prstGeom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9677ABAE-540B-46F5-8DEA-375E0BA83E74}"/>
              </a:ext>
            </a:extLst>
          </p:cNvPr>
          <p:cNvGrpSpPr/>
          <p:nvPr/>
        </p:nvGrpSpPr>
        <p:grpSpPr>
          <a:xfrm>
            <a:off x="5814234" y="2445771"/>
            <a:ext cx="468840" cy="468840"/>
            <a:chOff x="6178772" y="2152055"/>
            <a:chExt cx="468840" cy="468840"/>
          </a:xfrm>
        </p:grpSpPr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7206065B-852D-49EC-BFEF-88836DD32DD1}"/>
                </a:ext>
              </a:extLst>
            </p:cNvPr>
            <p:cNvSpPr/>
            <p:nvPr/>
          </p:nvSpPr>
          <p:spPr>
            <a:xfrm>
              <a:off x="6178772" y="2152055"/>
              <a:ext cx="468840" cy="468840"/>
            </a:xfrm>
            <a:prstGeom prst="ellipse">
              <a:avLst/>
            </a:prstGeom>
            <a:solidFill>
              <a:srgbClr val="70AD47"/>
            </a:solidFill>
            <a:ln w="1905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51E7D882-757B-4852-AB3A-F00FEEED82F6}"/>
                </a:ext>
              </a:extLst>
            </p:cNvPr>
            <p:cNvSpPr/>
            <p:nvPr/>
          </p:nvSpPr>
          <p:spPr>
            <a:xfrm>
              <a:off x="6288168" y="2261451"/>
              <a:ext cx="250048" cy="250048"/>
            </a:xfrm>
            <a:prstGeom prst="ellipse">
              <a:avLst/>
            </a:prstGeom>
            <a:solidFill>
              <a:srgbClr val="FFC000"/>
            </a:solidFill>
            <a:ln w="19050" cap="flat" cmpd="sng" algn="ctr">
              <a:solidFill>
                <a:schemeClr val="accent4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82" name="Connecteur droit 81">
            <a:extLst>
              <a:ext uri="{FF2B5EF4-FFF2-40B4-BE49-F238E27FC236}">
                <a16:creationId xmlns:a16="http://schemas.microsoft.com/office/drawing/2014/main" id="{4537FCD5-BB82-4CA3-8256-6C7BD2C2D09F}"/>
              </a:ext>
            </a:extLst>
          </p:cNvPr>
          <p:cNvCxnSpPr>
            <a:cxnSpLocks/>
            <a:stCxn id="80" idx="6"/>
          </p:cNvCxnSpPr>
          <p:nvPr/>
        </p:nvCxnSpPr>
        <p:spPr>
          <a:xfrm>
            <a:off x="6283074" y="2680191"/>
            <a:ext cx="1079079" cy="3219"/>
          </a:xfrm>
          <a:prstGeom prst="line">
            <a:avLst/>
          </a:prstGeom>
          <a:noFill/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</p:cxnSp>
      <p:grpSp>
        <p:nvGrpSpPr>
          <p:cNvPr id="7" name="Groupe 6">
            <a:extLst>
              <a:ext uri="{FF2B5EF4-FFF2-40B4-BE49-F238E27FC236}">
                <a16:creationId xmlns:a16="http://schemas.microsoft.com/office/drawing/2014/main" id="{52447F6F-7D3C-4EA2-B0B9-D3B1D700CA4F}"/>
              </a:ext>
            </a:extLst>
          </p:cNvPr>
          <p:cNvGrpSpPr/>
          <p:nvPr/>
        </p:nvGrpSpPr>
        <p:grpSpPr>
          <a:xfrm>
            <a:off x="7362153" y="1678779"/>
            <a:ext cx="4102624" cy="2009261"/>
            <a:chOff x="7223607" y="1035543"/>
            <a:chExt cx="4102624" cy="2009261"/>
          </a:xfrm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CA0A8096-DF2B-4AD3-BB6A-39E9687FADD3}"/>
                </a:ext>
              </a:extLst>
            </p:cNvPr>
            <p:cNvSpPr/>
            <p:nvPr/>
          </p:nvSpPr>
          <p:spPr>
            <a:xfrm>
              <a:off x="7223607" y="1035543"/>
              <a:ext cx="4102624" cy="2009261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190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D051B9CD-1D11-4991-938E-523B9D1336F9}"/>
                </a:ext>
              </a:extLst>
            </p:cNvPr>
            <p:cNvSpPr/>
            <p:nvPr/>
          </p:nvSpPr>
          <p:spPr>
            <a:xfrm>
              <a:off x="8002802" y="1173380"/>
              <a:ext cx="3323429" cy="1718346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TP – Paris Inter Gar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TP – Bois de Vincennes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ATP – Saint Rémy les Chevreus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leo-Renault – Créteil (parking)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nault-</a:t>
              </a:r>
              <a:r>
                <a:rPr kumimoji="0" lang="fr-FR" sz="1200" b="1" i="1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ellantis</a:t>
              </a: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– Ile de France, Paris – Orléans, CDG-La Défense, Dourdan-Massy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dev-Renault – Saclay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200" b="1" i="1" kern="0" dirty="0">
                  <a:solidFill>
                    <a:prstClr val="black"/>
                  </a:solidFill>
                  <a:latin typeface="Calibri" panose="020F0502020204030204"/>
                </a:rPr>
                <a:t>Transdev –  Les Mureaux (Ariane Group)</a:t>
              </a:r>
            </a:p>
          </p:txBody>
        </p:sp>
        <p:pic>
          <p:nvPicPr>
            <p:cNvPr id="71" name="Graphique 70" descr="Bus">
              <a:extLst>
                <a:ext uri="{FF2B5EF4-FFF2-40B4-BE49-F238E27FC236}">
                  <a16:creationId xmlns:a16="http://schemas.microsoft.com/office/drawing/2014/main" id="{83C9B739-D111-4F06-88E1-84808D025E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395733" y="2465866"/>
              <a:ext cx="281304" cy="281306"/>
            </a:xfrm>
            <a:prstGeom prst="rect">
              <a:avLst/>
            </a:prstGeom>
          </p:spPr>
        </p:pic>
        <p:pic>
          <p:nvPicPr>
            <p:cNvPr id="72" name="Graphique 71" descr="Voiture">
              <a:extLst>
                <a:ext uri="{FF2B5EF4-FFF2-40B4-BE49-F238E27FC236}">
                  <a16:creationId xmlns:a16="http://schemas.microsoft.com/office/drawing/2014/main" id="{261C792C-CEE2-4AB8-BCC2-7354F28990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60459" y="2465866"/>
              <a:ext cx="281304" cy="281304"/>
            </a:xfrm>
            <a:prstGeom prst="rect">
              <a:avLst/>
            </a:prstGeom>
          </p:spPr>
        </p:pic>
        <p:pic>
          <p:nvPicPr>
            <p:cNvPr id="73" name="Graphique 72" descr="Voiture">
              <a:extLst>
                <a:ext uri="{FF2B5EF4-FFF2-40B4-BE49-F238E27FC236}">
                  <a16:creationId xmlns:a16="http://schemas.microsoft.com/office/drawing/2014/main" id="{8AC63A6A-1D20-4479-9477-8E82F8AB02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60459" y="2201053"/>
              <a:ext cx="281304" cy="281304"/>
            </a:xfrm>
            <a:prstGeom prst="rect">
              <a:avLst/>
            </a:prstGeom>
          </p:spPr>
        </p:pic>
        <p:pic>
          <p:nvPicPr>
            <p:cNvPr id="74" name="Graphique 73" descr="Voiture">
              <a:extLst>
                <a:ext uri="{FF2B5EF4-FFF2-40B4-BE49-F238E27FC236}">
                  <a16:creationId xmlns:a16="http://schemas.microsoft.com/office/drawing/2014/main" id="{A91655C0-8DD6-42FF-B606-70700CF5C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95733" y="2188107"/>
              <a:ext cx="281304" cy="281306"/>
            </a:xfrm>
            <a:prstGeom prst="rect">
              <a:avLst/>
            </a:prstGeom>
          </p:spPr>
        </p:pic>
        <p:pic>
          <p:nvPicPr>
            <p:cNvPr id="75" name="Graphique 74" descr="Voiture">
              <a:extLst>
                <a:ext uri="{FF2B5EF4-FFF2-40B4-BE49-F238E27FC236}">
                  <a16:creationId xmlns:a16="http://schemas.microsoft.com/office/drawing/2014/main" id="{7348E382-1152-4B41-A0E7-FCD5918B7E9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760459" y="1821503"/>
              <a:ext cx="281304" cy="281304"/>
            </a:xfrm>
            <a:prstGeom prst="rect">
              <a:avLst/>
            </a:prstGeom>
          </p:spPr>
        </p:pic>
        <p:pic>
          <p:nvPicPr>
            <p:cNvPr id="76" name="Graphique 75" descr="Bus">
              <a:extLst>
                <a:ext uri="{FF2B5EF4-FFF2-40B4-BE49-F238E27FC236}">
                  <a16:creationId xmlns:a16="http://schemas.microsoft.com/office/drawing/2014/main" id="{5BA0FA69-2281-4CDA-A259-1C507A75F1C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60459" y="1130274"/>
              <a:ext cx="281304" cy="281306"/>
            </a:xfrm>
            <a:prstGeom prst="rect">
              <a:avLst/>
            </a:prstGeom>
          </p:spPr>
        </p:pic>
        <p:pic>
          <p:nvPicPr>
            <p:cNvPr id="77" name="Graphique 76" descr="Bus">
              <a:extLst>
                <a:ext uri="{FF2B5EF4-FFF2-40B4-BE49-F238E27FC236}">
                  <a16:creationId xmlns:a16="http://schemas.microsoft.com/office/drawing/2014/main" id="{4B75DD6F-D41F-45DA-85DC-D11334A8FC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60459" y="1393282"/>
              <a:ext cx="281304" cy="281306"/>
            </a:xfrm>
            <a:prstGeom prst="rect">
              <a:avLst/>
            </a:prstGeom>
          </p:spPr>
        </p:pic>
        <p:pic>
          <p:nvPicPr>
            <p:cNvPr id="84" name="Graphique 83" descr="Bus">
              <a:extLst>
                <a:ext uri="{FF2B5EF4-FFF2-40B4-BE49-F238E27FC236}">
                  <a16:creationId xmlns:a16="http://schemas.microsoft.com/office/drawing/2014/main" id="{0F88F4B5-A329-4BA0-8BA9-5B3C6831D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60459" y="1620430"/>
              <a:ext cx="281304" cy="281306"/>
            </a:xfrm>
            <a:prstGeom prst="rect">
              <a:avLst/>
            </a:prstGeom>
          </p:spPr>
        </p:pic>
        <p:pic>
          <p:nvPicPr>
            <p:cNvPr id="88" name="Graphique 87" descr="Bus">
              <a:extLst>
                <a:ext uri="{FF2B5EF4-FFF2-40B4-BE49-F238E27FC236}">
                  <a16:creationId xmlns:a16="http://schemas.microsoft.com/office/drawing/2014/main" id="{657362B6-1FE7-496A-BAC2-767DAAF05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760459" y="2709185"/>
              <a:ext cx="281304" cy="281306"/>
            </a:xfrm>
            <a:prstGeom prst="rect">
              <a:avLst/>
            </a:prstGeom>
          </p:spPr>
        </p:pic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96809E60-D24D-4B7B-B531-1B1C3939A5D4}"/>
              </a:ext>
            </a:extLst>
          </p:cNvPr>
          <p:cNvSpPr/>
          <p:nvPr/>
        </p:nvSpPr>
        <p:spPr>
          <a:xfrm>
            <a:off x="4749755" y="3657602"/>
            <a:ext cx="1862712" cy="374364"/>
          </a:xfrm>
          <a:prstGeom prst="rect">
            <a:avLst/>
          </a:prstGeom>
          <a:solidFill>
            <a:srgbClr val="FFFFFF">
              <a:alpha val="6980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r>
              <a:rPr lang="fr-FR" sz="1200" b="1" i="1" kern="0" dirty="0">
                <a:solidFill>
                  <a:prstClr val="black"/>
                </a:solidFill>
                <a:latin typeface="Calibri" panose="020F0502020204030204"/>
              </a:rPr>
              <a:t>Keolis</a:t>
            </a:r>
          </a:p>
          <a:p>
            <a:pPr algn="ctr" defTabSz="914400">
              <a:defRPr/>
            </a:pPr>
            <a:r>
              <a:rPr lang="fr-FR" sz="1200" b="1" i="1" kern="0" dirty="0">
                <a:solidFill>
                  <a:prstClr val="black"/>
                </a:solidFill>
                <a:latin typeface="Calibri" panose="020F0502020204030204"/>
              </a:rPr>
              <a:t>Châteauroux (CNTS) </a:t>
            </a:r>
            <a:endParaRPr lang="fr-FR" sz="800" b="1" i="1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1" name="Ellipse 90">
            <a:extLst>
              <a:ext uri="{FF2B5EF4-FFF2-40B4-BE49-F238E27FC236}">
                <a16:creationId xmlns:a16="http://schemas.microsoft.com/office/drawing/2014/main" id="{4EC23C69-8E6F-4113-B2C5-A65E63D3C1BF}"/>
              </a:ext>
            </a:extLst>
          </p:cNvPr>
          <p:cNvSpPr/>
          <p:nvPr/>
        </p:nvSpPr>
        <p:spPr>
          <a:xfrm>
            <a:off x="5179045" y="2406087"/>
            <a:ext cx="250048" cy="250048"/>
          </a:xfrm>
          <a:prstGeom prst="ellipse">
            <a:avLst/>
          </a:prstGeom>
          <a:solidFill>
            <a:srgbClr val="70AD47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2" name="Connecteur droit 91">
            <a:extLst>
              <a:ext uri="{FF2B5EF4-FFF2-40B4-BE49-F238E27FC236}">
                <a16:creationId xmlns:a16="http://schemas.microsoft.com/office/drawing/2014/main" id="{5D6772E7-4FCE-4C6F-A214-1B076669E119}"/>
              </a:ext>
            </a:extLst>
          </p:cNvPr>
          <p:cNvCxnSpPr>
            <a:cxnSpLocks/>
            <a:endCxn id="91" idx="2"/>
          </p:cNvCxnSpPr>
          <p:nvPr/>
        </p:nvCxnSpPr>
        <p:spPr>
          <a:xfrm>
            <a:off x="3929626" y="1925002"/>
            <a:ext cx="1249419" cy="606109"/>
          </a:xfrm>
          <a:prstGeom prst="line">
            <a:avLst/>
          </a:prstGeom>
          <a:noFill/>
          <a:ln w="19050" cap="flat" cmpd="sng" algn="ctr">
            <a:solidFill>
              <a:srgbClr val="70AD47"/>
            </a:solidFill>
            <a:prstDash val="solid"/>
            <a:miter lim="800000"/>
          </a:ln>
          <a:effectLst/>
        </p:spPr>
      </p:cxnSp>
      <p:grpSp>
        <p:nvGrpSpPr>
          <p:cNvPr id="9" name="Groupe 8">
            <a:extLst>
              <a:ext uri="{FF2B5EF4-FFF2-40B4-BE49-F238E27FC236}">
                <a16:creationId xmlns:a16="http://schemas.microsoft.com/office/drawing/2014/main" id="{17366C9A-2450-44F8-95AC-F1BBD1CF2528}"/>
              </a:ext>
            </a:extLst>
          </p:cNvPr>
          <p:cNvGrpSpPr/>
          <p:nvPr/>
        </p:nvGrpSpPr>
        <p:grpSpPr>
          <a:xfrm>
            <a:off x="1908144" y="1176140"/>
            <a:ext cx="3361265" cy="753533"/>
            <a:chOff x="2820699" y="1019437"/>
            <a:chExt cx="2965921" cy="787400"/>
          </a:xfrm>
        </p:grpSpPr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ED70F710-0F1F-40BD-B465-841BB4352383}"/>
                </a:ext>
              </a:extLst>
            </p:cNvPr>
            <p:cNvSpPr/>
            <p:nvPr/>
          </p:nvSpPr>
          <p:spPr>
            <a:xfrm>
              <a:off x="2820699" y="1019437"/>
              <a:ext cx="2604243" cy="787400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 w="1905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4" name="Graphique 93" descr="Bus">
              <a:extLst>
                <a:ext uri="{FF2B5EF4-FFF2-40B4-BE49-F238E27FC236}">
                  <a16:creationId xmlns:a16="http://schemas.microsoft.com/office/drawing/2014/main" id="{97452C41-DE7B-44F6-AF30-D1A6E68AC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63331" y="1318154"/>
              <a:ext cx="281304" cy="281306"/>
            </a:xfrm>
            <a:prstGeom prst="rect">
              <a:avLst/>
            </a:prstGeom>
          </p:spPr>
        </p:pic>
        <p:pic>
          <p:nvPicPr>
            <p:cNvPr id="95" name="Graphique 94" descr="Voiture">
              <a:extLst>
                <a:ext uri="{FF2B5EF4-FFF2-40B4-BE49-F238E27FC236}">
                  <a16:creationId xmlns:a16="http://schemas.microsoft.com/office/drawing/2014/main" id="{D3404DC6-AF3E-45A0-94AE-C93C8E1904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225716" y="1250418"/>
              <a:ext cx="281304" cy="281304"/>
            </a:xfrm>
            <a:prstGeom prst="rect">
              <a:avLst/>
            </a:prstGeom>
          </p:spPr>
        </p:pic>
        <p:pic>
          <p:nvPicPr>
            <p:cNvPr id="96" name="Graphique 95" descr="Bus">
              <a:extLst>
                <a:ext uri="{FF2B5EF4-FFF2-40B4-BE49-F238E27FC236}">
                  <a16:creationId xmlns:a16="http://schemas.microsoft.com/office/drawing/2014/main" id="{39B5C124-4A7A-4AB6-8236-369D11A6145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225716" y="1484298"/>
              <a:ext cx="281304" cy="281306"/>
            </a:xfrm>
            <a:prstGeom prst="rect">
              <a:avLst/>
            </a:prstGeom>
          </p:spPr>
        </p:pic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F9937D69-E5C6-49E9-951D-486729AF9DB9}"/>
                </a:ext>
              </a:extLst>
            </p:cNvPr>
            <p:cNvSpPr/>
            <p:nvPr/>
          </p:nvSpPr>
          <p:spPr>
            <a:xfrm>
              <a:off x="3486697" y="1291530"/>
              <a:ext cx="2299923" cy="399724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ransdev-Renault – Rouen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50"/>
                </a:spcBef>
                <a:spcAft>
                  <a:spcPts val="15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200" b="1" i="1" kern="0" dirty="0">
                  <a:solidFill>
                    <a:prstClr val="black"/>
                  </a:solidFill>
                  <a:latin typeface="Calibri" panose="020F0502020204030204"/>
                </a:rPr>
                <a:t>Transdev – Vernon Giverny</a:t>
              </a: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50BF0819-464E-4027-932D-14681726AA5C}"/>
              </a:ext>
            </a:extLst>
          </p:cNvPr>
          <p:cNvSpPr/>
          <p:nvPr/>
        </p:nvSpPr>
        <p:spPr>
          <a:xfrm>
            <a:off x="3952270" y="3200425"/>
            <a:ext cx="1425476" cy="328384"/>
          </a:xfrm>
          <a:prstGeom prst="rect">
            <a:avLst/>
          </a:prstGeom>
          <a:solidFill>
            <a:srgbClr val="FFFFFF">
              <a:alpha val="6980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llantis</a:t>
            </a: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SNCF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ntes Carquefou</a:t>
            </a:r>
          </a:p>
        </p:txBody>
      </p:sp>
      <p:pic>
        <p:nvPicPr>
          <p:cNvPr id="99" name="Graphique 98" descr="Bus">
            <a:extLst>
              <a:ext uri="{FF2B5EF4-FFF2-40B4-BE49-F238E27FC236}">
                <a16:creationId xmlns:a16="http://schemas.microsoft.com/office/drawing/2014/main" id="{459772FE-FCFC-4876-AB8A-F276E12BDAB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24941" y="3275223"/>
            <a:ext cx="531354" cy="531354"/>
          </a:xfrm>
          <a:prstGeom prst="rect">
            <a:avLst/>
          </a:pr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D8AF5E0E-2F62-4F3A-8982-74C6B788E9D8}"/>
              </a:ext>
            </a:extLst>
          </p:cNvPr>
          <p:cNvSpPr/>
          <p:nvPr/>
        </p:nvSpPr>
        <p:spPr>
          <a:xfrm>
            <a:off x="3642541" y="2553133"/>
            <a:ext cx="1464942" cy="427416"/>
          </a:xfrm>
          <a:prstGeom prst="rect">
            <a:avLst/>
          </a:prstGeom>
          <a:solidFill>
            <a:srgbClr val="FFFFFF">
              <a:alpha val="69804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olis - Rennes</a:t>
            </a:r>
          </a:p>
        </p:txBody>
      </p:sp>
      <p:pic>
        <p:nvPicPr>
          <p:cNvPr id="85" name="Graphique 84" descr="Bus">
            <a:extLst>
              <a:ext uri="{FF2B5EF4-FFF2-40B4-BE49-F238E27FC236}">
                <a16:creationId xmlns:a16="http://schemas.microsoft.com/office/drawing/2014/main" id="{247BC417-53EC-4B49-AFA3-93F5F11EEA2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35938" y="2592848"/>
            <a:ext cx="401529" cy="401529"/>
          </a:xfrm>
          <a:prstGeom prst="rect">
            <a:avLst/>
          </a:prstGeom>
        </p:spPr>
      </p:pic>
      <p:grpSp>
        <p:nvGrpSpPr>
          <p:cNvPr id="87" name="Groupe 86">
            <a:extLst>
              <a:ext uri="{FF2B5EF4-FFF2-40B4-BE49-F238E27FC236}">
                <a16:creationId xmlns:a16="http://schemas.microsoft.com/office/drawing/2014/main" id="{E0D12E58-5631-49FD-8763-D7CF9309FF83}"/>
              </a:ext>
            </a:extLst>
          </p:cNvPr>
          <p:cNvGrpSpPr/>
          <p:nvPr/>
        </p:nvGrpSpPr>
        <p:grpSpPr>
          <a:xfrm>
            <a:off x="674913" y="3723135"/>
            <a:ext cx="2220011" cy="670888"/>
            <a:chOff x="1775682" y="3075629"/>
            <a:chExt cx="2220011" cy="670888"/>
          </a:xfrm>
        </p:grpSpPr>
        <p:pic>
          <p:nvPicPr>
            <p:cNvPr id="89" name="Graphique 88" descr="Voiture">
              <a:extLst>
                <a:ext uri="{FF2B5EF4-FFF2-40B4-BE49-F238E27FC236}">
                  <a16:creationId xmlns:a16="http://schemas.microsoft.com/office/drawing/2014/main" id="{ECBB4B14-9190-4219-B4CC-29B7E3C609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775682" y="3075629"/>
              <a:ext cx="670888" cy="670888"/>
            </a:xfrm>
            <a:prstGeom prst="rect">
              <a:avLst/>
            </a:prstGeom>
          </p:spPr>
        </p:pic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C127E940-8FCC-4C07-9079-DA556AD63056}"/>
                </a:ext>
              </a:extLst>
            </p:cNvPr>
            <p:cNvSpPr/>
            <p:nvPr/>
          </p:nvSpPr>
          <p:spPr>
            <a:xfrm>
              <a:off x="2418753" y="3104983"/>
              <a:ext cx="1576940" cy="61218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éhicule particulier autonome</a:t>
              </a:r>
            </a:p>
          </p:txBody>
        </p:sp>
      </p:grpSp>
      <p:grpSp>
        <p:nvGrpSpPr>
          <p:cNvPr id="101" name="Groupe 100">
            <a:extLst>
              <a:ext uri="{FF2B5EF4-FFF2-40B4-BE49-F238E27FC236}">
                <a16:creationId xmlns:a16="http://schemas.microsoft.com/office/drawing/2014/main" id="{0E86B00E-F2E5-4618-9ED6-F7811F0BF371}"/>
              </a:ext>
            </a:extLst>
          </p:cNvPr>
          <p:cNvGrpSpPr/>
          <p:nvPr/>
        </p:nvGrpSpPr>
        <p:grpSpPr>
          <a:xfrm>
            <a:off x="666446" y="4217089"/>
            <a:ext cx="2210580" cy="1041007"/>
            <a:chOff x="1775682" y="3820538"/>
            <a:chExt cx="2210580" cy="1041007"/>
          </a:xfrm>
        </p:grpSpPr>
        <p:grpSp>
          <p:nvGrpSpPr>
            <p:cNvPr id="102" name="Groupe 101">
              <a:extLst>
                <a:ext uri="{FF2B5EF4-FFF2-40B4-BE49-F238E27FC236}">
                  <a16:creationId xmlns:a16="http://schemas.microsoft.com/office/drawing/2014/main" id="{AF6E5C13-199A-4E4E-8BA2-7FA19FC06005}"/>
                </a:ext>
              </a:extLst>
            </p:cNvPr>
            <p:cNvGrpSpPr/>
            <p:nvPr/>
          </p:nvGrpSpPr>
          <p:grpSpPr>
            <a:xfrm>
              <a:off x="1775682" y="3820538"/>
              <a:ext cx="670888" cy="1041007"/>
              <a:chOff x="1665527" y="3565192"/>
              <a:chExt cx="772711" cy="1199008"/>
            </a:xfrm>
          </p:grpSpPr>
          <p:pic>
            <p:nvPicPr>
              <p:cNvPr id="104" name="Graphique 103" descr="Voiture">
                <a:extLst>
                  <a:ext uri="{FF2B5EF4-FFF2-40B4-BE49-F238E27FC236}">
                    <a16:creationId xmlns:a16="http://schemas.microsoft.com/office/drawing/2014/main" id="{D363E78F-A267-42C5-888C-5227D1C01A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1665527" y="3565192"/>
                <a:ext cx="772711" cy="772712"/>
              </a:xfrm>
              <a:prstGeom prst="rect">
                <a:avLst/>
              </a:prstGeom>
            </p:spPr>
          </p:pic>
          <p:pic>
            <p:nvPicPr>
              <p:cNvPr id="105" name="Graphique 104" descr="Bus">
                <a:extLst>
                  <a:ext uri="{FF2B5EF4-FFF2-40B4-BE49-F238E27FC236}">
                    <a16:creationId xmlns:a16="http://schemas.microsoft.com/office/drawing/2014/main" id="{9CCDBE18-FEA1-4AD7-81F8-D1F31BDFCD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699335" y="4059104"/>
                <a:ext cx="705095" cy="705096"/>
              </a:xfrm>
              <a:prstGeom prst="rect">
                <a:avLst/>
              </a:prstGeom>
            </p:spPr>
          </p:pic>
        </p:grp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B29723D-B7FE-4BFD-84EF-91F227252C8B}"/>
                </a:ext>
              </a:extLst>
            </p:cNvPr>
            <p:cNvSpPr/>
            <p:nvPr/>
          </p:nvSpPr>
          <p:spPr>
            <a:xfrm>
              <a:off x="2409322" y="4034951"/>
              <a:ext cx="1576940" cy="61218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stèm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0AD4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 transpor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200" b="1" kern="0" dirty="0">
                  <a:solidFill>
                    <a:srgbClr val="70AD47"/>
                  </a:solidFill>
                  <a:latin typeface="Calibri" panose="020F0502020204030204"/>
                </a:rPr>
                <a:t>Routier automatisé</a:t>
              </a: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06" name="Groupe 105">
            <a:extLst>
              <a:ext uri="{FF2B5EF4-FFF2-40B4-BE49-F238E27FC236}">
                <a16:creationId xmlns:a16="http://schemas.microsoft.com/office/drawing/2014/main" id="{3E8EF76C-C9E5-4B88-8112-9BF0DBA58D1C}"/>
              </a:ext>
            </a:extLst>
          </p:cNvPr>
          <p:cNvGrpSpPr/>
          <p:nvPr/>
        </p:nvGrpSpPr>
        <p:grpSpPr>
          <a:xfrm>
            <a:off x="662537" y="5320613"/>
            <a:ext cx="2140813" cy="612180"/>
            <a:chOff x="1873373" y="4935573"/>
            <a:chExt cx="2140813" cy="612180"/>
          </a:xfrm>
        </p:grpSpPr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DAC9729A-3A96-4C67-8609-E0CC10A05704}"/>
                </a:ext>
              </a:extLst>
            </p:cNvPr>
            <p:cNvSpPr/>
            <p:nvPr/>
          </p:nvSpPr>
          <p:spPr>
            <a:xfrm>
              <a:off x="2437246" y="4935573"/>
              <a:ext cx="1576940" cy="61218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ystèm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 transport automatisé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 marchandises</a:t>
              </a:r>
            </a:p>
          </p:txBody>
        </p:sp>
        <p:pic>
          <p:nvPicPr>
            <p:cNvPr id="108" name="Image 107">
              <a:extLst>
                <a:ext uri="{FF2B5EF4-FFF2-40B4-BE49-F238E27FC236}">
                  <a16:creationId xmlns:a16="http://schemas.microsoft.com/office/drawing/2014/main" id="{62BBE604-933A-4FE9-89CB-A08D7CC6A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73373" y="4996574"/>
              <a:ext cx="531352" cy="490178"/>
            </a:xfrm>
            <a:prstGeom prst="rect">
              <a:avLst/>
            </a:prstGeom>
          </p:spPr>
        </p:pic>
      </p:grpSp>
      <p:sp>
        <p:nvSpPr>
          <p:cNvPr id="14" name="Titre 13">
            <a:extLst>
              <a:ext uri="{FF2B5EF4-FFF2-40B4-BE49-F238E27FC236}">
                <a16:creationId xmlns:a16="http://schemas.microsoft.com/office/drawing/2014/main" id="{48544BC3-79C8-4101-9208-8DAB89E5E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813" y="0"/>
            <a:ext cx="11111271" cy="888445"/>
          </a:xfrm>
        </p:spPr>
        <p:txBody>
          <a:bodyPr>
            <a:normAutofit fontScale="90000"/>
          </a:bodyPr>
          <a:lstStyle/>
          <a:p>
            <a:r>
              <a:rPr lang="fr-FR" sz="2700" spc="100" dirty="0"/>
              <a:t>SAM, un projet national d’expérimentations des cas d’usage du transport de personnes et de biens  </a:t>
            </a:r>
            <a:br>
              <a:rPr lang="fr-FR" sz="3600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0979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667D1B63-5D82-46B6-90B8-C1C9047E1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" y="0"/>
            <a:ext cx="11341395" cy="1143000"/>
          </a:xfrm>
        </p:spPr>
        <p:txBody>
          <a:bodyPr anchor="ctr">
            <a:normAutofit/>
          </a:bodyPr>
          <a:lstStyle/>
          <a:p>
            <a:r>
              <a:rPr lang="fr-FR" sz="2400" dirty="0"/>
              <a:t>Les expérimentations avancent malgré la crise COVID</a:t>
            </a: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0D24CB7F-EDCF-4BF0-B79D-36C0BA180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9178" y="1211367"/>
            <a:ext cx="10576966" cy="4741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37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3">
            <a:extLst>
              <a:ext uri="{FF2B5EF4-FFF2-40B4-BE49-F238E27FC236}">
                <a16:creationId xmlns:a16="http://schemas.microsoft.com/office/drawing/2014/main" id="{CAA02D02-8D81-40E6-B65F-28DB5C19C5AC}"/>
              </a:ext>
            </a:extLst>
          </p:cNvPr>
          <p:cNvSpPr txBox="1">
            <a:spLocks/>
          </p:cNvSpPr>
          <p:nvPr/>
        </p:nvSpPr>
        <p:spPr>
          <a:xfrm>
            <a:off x="609599" y="0"/>
            <a:ext cx="11341395" cy="1143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312782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fr-FR" sz="2400" dirty="0"/>
              <a:t>Les expérimentations avancent malgré la crise COVID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DA16CF77-8EFE-4B5F-A2F0-B666BCA0D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8752" y="1248032"/>
            <a:ext cx="10079953" cy="475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45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3">
            <a:extLst>
              <a:ext uri="{FF2B5EF4-FFF2-40B4-BE49-F238E27FC236}">
                <a16:creationId xmlns:a16="http://schemas.microsoft.com/office/drawing/2014/main" id="{7D3AD194-8068-4E89-BDD7-E0813E6D274C}"/>
              </a:ext>
            </a:extLst>
          </p:cNvPr>
          <p:cNvSpPr txBox="1">
            <a:spLocks/>
          </p:cNvSpPr>
          <p:nvPr/>
        </p:nvSpPr>
        <p:spPr>
          <a:xfrm>
            <a:off x="598966" y="0"/>
            <a:ext cx="11341395" cy="1143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312782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fr-FR" sz="2400" dirty="0"/>
              <a:t>Les expérimentations avancent malgré la crise COVID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703C8585-8031-4BEA-9EC4-98C09236BB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426" y="1235675"/>
            <a:ext cx="10660721" cy="473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5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re 3">
            <a:extLst>
              <a:ext uri="{FF2B5EF4-FFF2-40B4-BE49-F238E27FC236}">
                <a16:creationId xmlns:a16="http://schemas.microsoft.com/office/drawing/2014/main" id="{89DB1145-DFFB-460E-9A55-C058D3DA4312}"/>
              </a:ext>
            </a:extLst>
          </p:cNvPr>
          <p:cNvSpPr txBox="1">
            <a:spLocks/>
          </p:cNvSpPr>
          <p:nvPr/>
        </p:nvSpPr>
        <p:spPr>
          <a:xfrm>
            <a:off x="598966" y="0"/>
            <a:ext cx="11341395" cy="1143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312782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fr-FR" sz="2400" dirty="0"/>
              <a:t>Les expérimentations avancent malgré la crise COVID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0304E33B-EE3C-4F2D-9BC1-A5DCC26422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005" y="1137762"/>
            <a:ext cx="10693417" cy="4136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233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A4C8C20-6489-413D-88CB-99019D27C4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Montpellier, (</a:t>
            </a:r>
            <a:r>
              <a:rPr lang="fr-FR" dirty="0" err="1"/>
              <a:t>TwinswHeel</a:t>
            </a:r>
            <a:r>
              <a:rPr lang="fr-FR" dirty="0"/>
              <a:t>)</a:t>
            </a:r>
          </a:p>
        </p:txBody>
      </p:sp>
      <p:pic>
        <p:nvPicPr>
          <p:cNvPr id="6" name="Espace réservé du contenu 5" descr="Une image contenant texte, arbre, extérieur, camion&#10;&#10;Description générée automatiquement">
            <a:extLst>
              <a:ext uri="{FF2B5EF4-FFF2-40B4-BE49-F238E27FC236}">
                <a16:creationId xmlns:a16="http://schemas.microsoft.com/office/drawing/2014/main" id="{EBE89615-FEE8-415E-B051-BE66275693C8}"/>
              </a:ext>
            </a:extLst>
          </p:cNvPr>
          <p:cNvPicPr>
            <a:picLocks noGrp="1" noChangeAspect="1"/>
          </p:cNvPicPr>
          <p:nvPr>
            <p:ph idx="10"/>
          </p:nvPr>
        </p:nvPicPr>
        <p:blipFill>
          <a:blip r:embed="rId3"/>
          <a:stretch>
            <a:fillRect/>
          </a:stretch>
        </p:blipFill>
        <p:spPr>
          <a:xfrm>
            <a:off x="696943" y="2308869"/>
            <a:ext cx="5200650" cy="3467100"/>
          </a:xfrm>
        </p:spPr>
      </p:pic>
      <p:sp>
        <p:nvSpPr>
          <p:cNvPr id="8" name="Titre 3">
            <a:extLst>
              <a:ext uri="{FF2B5EF4-FFF2-40B4-BE49-F238E27FC236}">
                <a16:creationId xmlns:a16="http://schemas.microsoft.com/office/drawing/2014/main" id="{020BB73E-F7A6-4F4C-9B0E-3A852CFFFF07}"/>
              </a:ext>
            </a:extLst>
          </p:cNvPr>
          <p:cNvSpPr txBox="1">
            <a:spLocks/>
          </p:cNvSpPr>
          <p:nvPr/>
        </p:nvSpPr>
        <p:spPr>
          <a:xfrm>
            <a:off x="598966" y="0"/>
            <a:ext cx="11341395" cy="1143000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kern="1200">
                <a:solidFill>
                  <a:srgbClr val="312782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fr-FR" sz="2400" dirty="0"/>
              <a:t>Les expérimentations avancent en 2021 malgré la crise COVID</a:t>
            </a:r>
          </a:p>
        </p:txBody>
      </p:sp>
    </p:spTree>
    <p:extLst>
      <p:ext uri="{BB962C8B-B14F-4D97-AF65-F5344CB8AC3E}">
        <p14:creationId xmlns:p14="http://schemas.microsoft.com/office/powerpoint/2010/main" val="400406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id="{DCA9FFD0-8830-46BA-8724-14ECF3BE31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1888590"/>
              </p:ext>
            </p:extLst>
          </p:nvPr>
        </p:nvGraphicFramePr>
        <p:xfrm>
          <a:off x="3134205" y="1301667"/>
          <a:ext cx="6146227" cy="46771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Tableau 2">
            <a:extLst>
              <a:ext uri="{FF2B5EF4-FFF2-40B4-BE49-F238E27FC236}">
                <a16:creationId xmlns:a16="http://schemas.microsoft.com/office/drawing/2014/main" id="{6645BDD0-BC32-4FFB-A2AE-4438ACBEA6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864550"/>
              </p:ext>
            </p:extLst>
          </p:nvPr>
        </p:nvGraphicFramePr>
        <p:xfrm>
          <a:off x="8017439" y="2825774"/>
          <a:ext cx="4174561" cy="1810021"/>
        </p:xfrm>
        <a:graphic>
          <a:graphicData uri="http://schemas.openxmlformats.org/drawingml/2006/table">
            <a:tbl>
              <a:tblPr firstRow="1" bandRow="1">
                <a:effectLst>
                  <a:outerShdw blurRad="76200" dir="900000" sy="23000" kx="-1200000" algn="b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4174561">
                  <a:extLst>
                    <a:ext uri="{9D8B030D-6E8A-4147-A177-3AD203B41FA5}">
                      <a16:colId xmlns:a16="http://schemas.microsoft.com/office/drawing/2014/main" val="327911919"/>
                    </a:ext>
                  </a:extLst>
                </a:gridCol>
              </a:tblGrid>
              <a:tr h="1810021">
                <a:tc>
                  <a:txBody>
                    <a:bodyPr/>
                    <a:lstStyle/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Règles de circulation sans conducteur à bord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Démonstrateurs vraie grandeur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nnectivité physique / numérique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rance -&gt; Europ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460470"/>
                  </a:ext>
                </a:extLst>
              </a:tr>
            </a:tbl>
          </a:graphicData>
        </a:graphic>
      </p:graphicFrame>
      <p:graphicFrame>
        <p:nvGraphicFramePr>
          <p:cNvPr id="8" name="Tableau 7">
            <a:extLst>
              <a:ext uri="{FF2B5EF4-FFF2-40B4-BE49-F238E27FC236}">
                <a16:creationId xmlns:a16="http://schemas.microsoft.com/office/drawing/2014/main" id="{AE0C2168-0FAA-4BF6-A102-29047928E9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9778732"/>
              </p:ext>
            </p:extLst>
          </p:nvPr>
        </p:nvGraphicFramePr>
        <p:xfrm>
          <a:off x="7497124" y="5502349"/>
          <a:ext cx="3525943" cy="770861"/>
        </p:xfrm>
        <a:graphic>
          <a:graphicData uri="http://schemas.openxmlformats.org/drawingml/2006/table">
            <a:tbl>
              <a:tblPr firstRow="1" bandRow="1">
                <a:effectLst>
                  <a:outerShdw blurRad="76200" dir="900000" sy="23000" kx="-1200000" algn="b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525943">
                  <a:extLst>
                    <a:ext uri="{9D8B030D-6E8A-4147-A177-3AD203B41FA5}">
                      <a16:colId xmlns:a16="http://schemas.microsoft.com/office/drawing/2014/main" val="327911919"/>
                    </a:ext>
                  </a:extLst>
                </a:gridCol>
              </a:tblGrid>
              <a:tr h="770861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fr-FR" sz="2000" dirty="0"/>
                        <a:t>Cadre règlementaire: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fr-FR" sz="2000" dirty="0"/>
                        <a:t>Personnes &amp; Biens (2022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460470"/>
                  </a:ext>
                </a:extLst>
              </a:tr>
            </a:tbl>
          </a:graphicData>
        </a:graphic>
      </p:graphicFrame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BD53E11-22D1-4DC3-B39E-ED67F6E3AF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494162"/>
              </p:ext>
            </p:extLst>
          </p:nvPr>
        </p:nvGraphicFramePr>
        <p:xfrm>
          <a:off x="3095881" y="5815777"/>
          <a:ext cx="2492464" cy="701040"/>
        </p:xfrm>
        <a:graphic>
          <a:graphicData uri="http://schemas.openxmlformats.org/drawingml/2006/table">
            <a:tbl>
              <a:tblPr firstRow="1" bandRow="1">
                <a:effectLst>
                  <a:outerShdw blurRad="76200" dir="900000" sy="23000" kx="-1200000" algn="b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2492464">
                  <a:extLst>
                    <a:ext uri="{9D8B030D-6E8A-4147-A177-3AD203B41FA5}">
                      <a16:colId xmlns:a16="http://schemas.microsoft.com/office/drawing/2014/main" val="1765229389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rogramme PIA4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200 M €  (2021-2025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722780"/>
                  </a:ext>
                </a:extLst>
              </a:tr>
            </a:tbl>
          </a:graphicData>
        </a:graphic>
      </p:graphicFrame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9E3C86DC-4BA6-4B6E-ACB7-562C04039E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6472750"/>
              </p:ext>
            </p:extLst>
          </p:nvPr>
        </p:nvGraphicFramePr>
        <p:xfrm>
          <a:off x="106326" y="3646544"/>
          <a:ext cx="3632837" cy="1615440"/>
        </p:xfrm>
        <a:graphic>
          <a:graphicData uri="http://schemas.openxmlformats.org/drawingml/2006/table">
            <a:tbl>
              <a:tblPr firstRow="1" bandRow="1">
                <a:effectLst>
                  <a:outerShdw blurRad="76200" dir="900000" sy="23000" kx="-1200000" algn="b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632837">
                  <a:extLst>
                    <a:ext uri="{9D8B030D-6E8A-4147-A177-3AD203B41FA5}">
                      <a16:colId xmlns:a16="http://schemas.microsoft.com/office/drawing/2014/main" val="3199062375"/>
                    </a:ext>
                  </a:extLst>
                </a:gridCol>
              </a:tblGrid>
              <a:tr h="1615440">
                <a:tc>
                  <a:txBody>
                    <a:bodyPr/>
                    <a:lstStyle/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mité stratégie trimestriel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rogramme JO 24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ollaboration pouvoir public / France VA </a:t>
                      </a:r>
                    </a:p>
                  </a:txBody>
                  <a:tcPr marL="83127" marR="83127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24068"/>
                  </a:ext>
                </a:extLst>
              </a:tr>
            </a:tbl>
          </a:graphicData>
        </a:graphic>
      </p:graphicFrame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7EFFE013-CDF4-42C9-BE66-A40ACE448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576025"/>
              </p:ext>
            </p:extLst>
          </p:nvPr>
        </p:nvGraphicFramePr>
        <p:xfrm>
          <a:off x="185660" y="1488704"/>
          <a:ext cx="3842536" cy="1188720"/>
        </p:xfrm>
        <a:graphic>
          <a:graphicData uri="http://schemas.openxmlformats.org/drawingml/2006/table">
            <a:tbl>
              <a:tblPr firstRow="1" bandRow="1">
                <a:effectLst>
                  <a:outerShdw blurRad="76200" dir="900000" sy="23000" kx="-1200000" algn="b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3842536">
                  <a:extLst>
                    <a:ext uri="{9D8B030D-6E8A-4147-A177-3AD203B41FA5}">
                      <a16:colId xmlns:a16="http://schemas.microsoft.com/office/drawing/2014/main" val="3199062375"/>
                    </a:ext>
                  </a:extLst>
                </a:gridCol>
              </a:tblGrid>
              <a:tr h="9886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20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rance, lieu privilégié en Europe de déploiement des services de mobilité routière automatisée (2022-25</a:t>
                      </a:r>
                      <a:r>
                        <a:rPr kumimoji="0" lang="fr-FR" sz="1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83127" marR="83127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24068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EAB8FCA5-EA22-4DDA-9DC2-89E8C1D33775}"/>
              </a:ext>
            </a:extLst>
          </p:cNvPr>
          <p:cNvSpPr/>
          <p:nvPr/>
        </p:nvSpPr>
        <p:spPr>
          <a:xfrm>
            <a:off x="5327915" y="3044958"/>
            <a:ext cx="24521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solidFill>
                  <a:srgbClr val="29385A"/>
                </a:solidFill>
              </a:rPr>
              <a:t>Stratégie nationale Mobilité Routière automatisée</a:t>
            </a:r>
            <a:endParaRPr lang="fr-FR" sz="1600" b="1" dirty="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7BCF8E0-D758-400D-9B5E-2E5533EEB6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260648"/>
            <a:ext cx="11711517" cy="345157"/>
          </a:xfr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fr-FR" sz="2400" cap="none" dirty="0"/>
              <a:t>Une stratégie nationale affichée</a:t>
            </a:r>
            <a:endParaRPr lang="fr-FR" sz="24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85F3560-0304-470E-BCE9-A5FB97BA7E88}"/>
              </a:ext>
            </a:extLst>
          </p:cNvPr>
          <p:cNvSpPr/>
          <p:nvPr/>
        </p:nvSpPr>
        <p:spPr>
          <a:xfrm>
            <a:off x="5917188" y="3841280"/>
            <a:ext cx="843571" cy="843571"/>
          </a:xfrm>
          <a:prstGeom prst="rect">
            <a:avLst/>
          </a:prstGeom>
          <a:blipFill rotWithShape="1">
            <a:blip r:embed="rId8"/>
            <a:srcRect/>
            <a:stretch>
              <a:fillRect t="-21000" b="-21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aphicFrame>
        <p:nvGraphicFramePr>
          <p:cNvPr id="13" name="Tableau 12">
            <a:extLst>
              <a:ext uri="{FF2B5EF4-FFF2-40B4-BE49-F238E27FC236}">
                <a16:creationId xmlns:a16="http://schemas.microsoft.com/office/drawing/2014/main" id="{6FB67793-E51A-45EB-9A49-EB01017A25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642964"/>
              </p:ext>
            </p:extLst>
          </p:nvPr>
        </p:nvGraphicFramePr>
        <p:xfrm>
          <a:off x="6660697" y="1093381"/>
          <a:ext cx="4120717" cy="480237"/>
        </p:xfrm>
        <a:graphic>
          <a:graphicData uri="http://schemas.openxmlformats.org/drawingml/2006/table">
            <a:tbl>
              <a:tblPr firstRow="1" bandRow="1">
                <a:effectLst>
                  <a:outerShdw blurRad="76200" dir="900000" sy="23000" kx="-1200000" algn="b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4120717">
                  <a:extLst>
                    <a:ext uri="{9D8B030D-6E8A-4147-A177-3AD203B41FA5}">
                      <a16:colId xmlns:a16="http://schemas.microsoft.com/office/drawing/2014/main" val="327911919"/>
                    </a:ext>
                  </a:extLst>
                </a:gridCol>
              </a:tblGrid>
              <a:tr h="480237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fr-FR" sz="2000" dirty="0"/>
                        <a:t>Sécurité, Progressivité, Acceptabilité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94604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94402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CustomShape 1"/>
          <p:cNvSpPr/>
          <p:nvPr/>
        </p:nvSpPr>
        <p:spPr>
          <a:xfrm>
            <a:off x="489527" y="128651"/>
            <a:ext cx="11314545" cy="56832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400" dirty="0">
                <a:solidFill>
                  <a:srgbClr val="312782"/>
                </a:solidFill>
                <a:latin typeface="Arial Black"/>
                <a:ea typeface="+mj-ea"/>
              </a:rPr>
              <a:t>Une coopération public/privé</a:t>
            </a:r>
          </a:p>
        </p:txBody>
      </p:sp>
      <p:sp>
        <p:nvSpPr>
          <p:cNvPr id="94" name="CustomShape 2"/>
          <p:cNvSpPr/>
          <p:nvPr/>
        </p:nvSpPr>
        <p:spPr>
          <a:xfrm>
            <a:off x="223282" y="879170"/>
            <a:ext cx="12004158" cy="51478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5840" rIns="0" bIns="0"/>
          <a:lstStyle/>
          <a:p>
            <a:pPr marL="417513" indent="-31115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9999FF"/>
              </a:buClr>
              <a:buFont typeface="Wingdings" pitchFamily="2" charset="2"/>
              <a:buChar char=""/>
            </a:pPr>
            <a:r>
              <a:rPr lang="fr-FR" sz="2200" dirty="0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Coordination globale: Haute Représentante : Madame IDRAC</a:t>
            </a:r>
          </a:p>
          <a:p>
            <a:pPr marL="417513" indent="-3111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9999FF"/>
              </a:buClr>
              <a:buFont typeface="Wingdings" pitchFamily="2" charset="2"/>
              <a:buChar char=""/>
            </a:pPr>
            <a:r>
              <a:rPr lang="fr-FR" sz="2200" dirty="0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Mise en œuvre conjointe par les ministères : Transport ; Intérieur ; Industrie ; Justice ; Cyber)</a:t>
            </a: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ea typeface="Microsoft YaHei" pitchFamily="34" charset="-122"/>
              <a:cs typeface="Arial" panose="020B0604020202020204" pitchFamily="34" charset="0"/>
            </a:endParaRPr>
          </a:p>
          <a:p>
            <a:pPr marL="417513" indent="-311150">
              <a:lnSpc>
                <a:spcPct val="110000"/>
              </a:lnSpc>
              <a:spcAft>
                <a:spcPts val="600"/>
              </a:spcAft>
              <a:buClr>
                <a:srgbClr val="9999FF"/>
              </a:buClr>
              <a:buFont typeface="Wingdings" pitchFamily="2" charset="2"/>
              <a:buChar char=""/>
            </a:pPr>
            <a:r>
              <a:rPr lang="fr-FR" sz="2200" dirty="0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Interfaces structurées avec l’industrie  (France Véhicules Autonomes) </a:t>
            </a:r>
          </a:p>
          <a:p>
            <a:pPr marL="417513" indent="-311150">
              <a:lnSpc>
                <a:spcPct val="110000"/>
              </a:lnSpc>
              <a:spcAft>
                <a:spcPts val="600"/>
              </a:spcAft>
              <a:buClr>
                <a:srgbClr val="9999FF"/>
              </a:buClr>
              <a:buFont typeface="Wingdings" pitchFamily="2" charset="2"/>
              <a:buChar char=""/>
            </a:pPr>
            <a:r>
              <a:rPr lang="fr-FR" sz="2200" dirty="0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P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ar macro cas d’usages: a) véhicule particulier ; b) Transport public &amp; mobilité partagée ; c) </a:t>
            </a:r>
            <a:r>
              <a:rPr lang="fr-FR" sz="2000" dirty="0" err="1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Frêt</a:t>
            </a:r>
            <a:r>
              <a:rPr lang="fr-FR" sz="2000" dirty="0">
                <a:solidFill>
                  <a:srgbClr val="000000"/>
                </a:solidFill>
                <a:latin typeface="Arial" panose="020B0604020202020204" pitchFamily="34" charset="0"/>
                <a:ea typeface="Microsoft YaHei" pitchFamily="34" charset="-122"/>
                <a:cs typeface="Arial" panose="020B0604020202020204" pitchFamily="34" charset="0"/>
              </a:rPr>
              <a:t> &amp; logistique</a:t>
            </a:r>
          </a:p>
          <a:p>
            <a:pPr marL="874713" lvl="1" indent="-311150">
              <a:lnSpc>
                <a:spcPct val="110000"/>
              </a:lnSpc>
              <a:buClr>
                <a:srgbClr val="9999FF"/>
              </a:buClr>
              <a:buFont typeface="Wingdings" pitchFamily="2" charset="2"/>
              <a:buChar char=""/>
            </a:pPr>
            <a:endParaRPr lang="fr-FR" sz="2000" dirty="0">
              <a:solidFill>
                <a:srgbClr val="000000"/>
              </a:solidFill>
              <a:ea typeface="Microsoft YaHei" pitchFamily="34" charset="-122"/>
            </a:endParaRPr>
          </a:p>
        </p:txBody>
      </p:sp>
      <p:grpSp>
        <p:nvGrpSpPr>
          <p:cNvPr id="4" name="Groupe 3">
            <a:extLst>
              <a:ext uri="{FF2B5EF4-FFF2-40B4-BE49-F238E27FC236}">
                <a16:creationId xmlns:a16="http://schemas.microsoft.com/office/drawing/2014/main" id="{F9E22295-583C-4084-9FAF-906DADB79AE3}"/>
              </a:ext>
            </a:extLst>
          </p:cNvPr>
          <p:cNvGrpSpPr/>
          <p:nvPr/>
        </p:nvGrpSpPr>
        <p:grpSpPr>
          <a:xfrm>
            <a:off x="0" y="2932307"/>
            <a:ext cx="3916137" cy="4481625"/>
            <a:chOff x="-412683" y="128039"/>
            <a:chExt cx="3836182" cy="407894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0FC6724-CAAF-43EB-881D-D856EACD4012}"/>
                </a:ext>
              </a:extLst>
            </p:cNvPr>
            <p:cNvSpPr/>
            <p:nvPr/>
          </p:nvSpPr>
          <p:spPr>
            <a:xfrm>
              <a:off x="-412683" y="128039"/>
              <a:ext cx="3773873" cy="66666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1200" cap="none" spc="10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ratégie nationale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3FDB891-61C7-420A-AA61-C5FB3C40B75C}"/>
                </a:ext>
              </a:extLst>
            </p:cNvPr>
            <p:cNvSpPr/>
            <p:nvPr/>
          </p:nvSpPr>
          <p:spPr>
            <a:xfrm>
              <a:off x="324151" y="3899207"/>
              <a:ext cx="309934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293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C98F1D03-03FD-4D07-8521-013ECD91F9FF}"/>
              </a:ext>
            </a:extLst>
          </p:cNvPr>
          <p:cNvSpPr/>
          <p:nvPr/>
        </p:nvSpPr>
        <p:spPr>
          <a:xfrm>
            <a:off x="7419059" y="2973287"/>
            <a:ext cx="4772941" cy="704031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100" normalizeH="0" baseline="0" noProof="0" dirty="0">
                <a:ln>
                  <a:noFill/>
                </a:ln>
                <a:solidFill>
                  <a:srgbClr val="293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gramm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100" normalizeH="0" baseline="0" noProof="0" dirty="0">
                <a:ln>
                  <a:noFill/>
                </a:ln>
                <a:solidFill>
                  <a:srgbClr val="293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 France Véhicules Autonomes »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52E9468C-E001-4704-A884-08323A06A8B9}"/>
              </a:ext>
            </a:extLst>
          </p:cNvPr>
          <p:cNvGrpSpPr/>
          <p:nvPr/>
        </p:nvGrpSpPr>
        <p:grpSpPr>
          <a:xfrm>
            <a:off x="3655230" y="3379789"/>
            <a:ext cx="6015942" cy="3288075"/>
            <a:chOff x="-970251" y="4357643"/>
            <a:chExt cx="5099287" cy="4000536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5535F43-2F53-4978-8805-389D022F7896}"/>
                </a:ext>
              </a:extLst>
            </p:cNvPr>
            <p:cNvSpPr/>
            <p:nvPr/>
          </p:nvSpPr>
          <p:spPr>
            <a:xfrm>
              <a:off x="-685019" y="4357643"/>
              <a:ext cx="2126928" cy="51022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1200" cap="none" spc="75" normalizeH="0" baseline="0" noProof="0" dirty="0" err="1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êmes</a:t>
              </a:r>
              <a:r>
                <a:rPr kumimoji="0" lang="fr-FR" sz="1800" b="1" i="0" u="none" strike="noStrike" kern="1200" cap="none" spc="75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communs de travail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C4D58B-5B6E-43C1-A863-BEEC59F65F79}"/>
                </a:ext>
              </a:extLst>
            </p:cNvPr>
            <p:cNvSpPr/>
            <p:nvPr/>
          </p:nvSpPr>
          <p:spPr>
            <a:xfrm>
              <a:off x="-970251" y="4916996"/>
              <a:ext cx="5099287" cy="34411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alidation de la sécurité</a:t>
              </a:r>
            </a:p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ègles de circulation</a:t>
              </a:r>
            </a:p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sponsabilité</a:t>
              </a:r>
            </a:p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ceptabilité</a:t>
              </a:r>
            </a:p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29385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raction avec les forces de l’ordre</a:t>
              </a:r>
            </a:p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fr-FR" dirty="0" err="1">
                  <a:solidFill>
                    <a:srgbClr val="2938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lementation</a:t>
              </a:r>
              <a:r>
                <a:rPr lang="fr-FR" dirty="0">
                  <a:solidFill>
                    <a:srgbClr val="2938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nternationale </a:t>
              </a:r>
            </a:p>
            <a:p>
              <a:pPr marL="430312" marR="0" lvl="0" indent="-34290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fr-FR" dirty="0">
                  <a:solidFill>
                    <a:srgbClr val="2938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act sociaux/ sociétaux</a:t>
              </a:r>
            </a:p>
            <a:p>
              <a:pPr marL="87412" marR="0" lvl="0" algn="l" defTabSz="457200" rtl="0" eaLnBrk="1" fontAlgn="auto" latinLnBrk="0" hangingPunct="1">
                <a:lnSpc>
                  <a:spcPts val="2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fr-FR" dirty="0">
                  <a:solidFill>
                    <a:srgbClr val="29385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 Séminaire « acceptabilité » + Commission éthique)</a:t>
              </a:r>
              <a:endParaRPr kumimoji="0" lang="fr-FR" b="0" i="0" u="none" strike="noStrike" kern="1200" cap="none" spc="0" normalizeH="0" baseline="0" noProof="0" dirty="0">
                <a:ln>
                  <a:noFill/>
                </a:ln>
                <a:solidFill>
                  <a:srgbClr val="29385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" t="25421" r="-553" b="26464"/>
          <a:stretch/>
        </p:blipFill>
        <p:spPr>
          <a:xfrm>
            <a:off x="8007531" y="3923414"/>
            <a:ext cx="1922521" cy="925033"/>
          </a:xfrm>
          <a:prstGeom prst="rect">
            <a:avLst/>
          </a:prstGeom>
        </p:spPr>
      </p:pic>
      <p:pic>
        <p:nvPicPr>
          <p:cNvPr id="16" name="Image 1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45" y="3969689"/>
            <a:ext cx="2117009" cy="2569334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7333D0C-7F22-4530-9E8D-3EB88101F7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63428" y="4141638"/>
            <a:ext cx="1479264" cy="615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107287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80729" y="206470"/>
            <a:ext cx="9913237" cy="888445"/>
          </a:xfrm>
        </p:spPr>
        <p:txBody>
          <a:bodyPr anchor="t">
            <a:normAutofit/>
          </a:bodyPr>
          <a:lstStyle/>
          <a:p>
            <a:r>
              <a:rPr lang="fr-FR" sz="2400" dirty="0"/>
              <a:t>Cas d’usage:  Transport de personnes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B2BC55F-2421-48B7-9F95-479F54921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5707754"/>
            <a:ext cx="12192000" cy="365125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769600" y="5644628"/>
            <a:ext cx="44873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B7062C-61A7-F249-A152-93285C121844}" type="slidenum">
              <a:rPr lang="fr-FR" smtClean="0"/>
              <a:pPr>
                <a:spcAft>
                  <a:spcPts val="600"/>
                </a:spcAft>
              </a:pPr>
              <a:t>4</a:t>
            </a:fld>
            <a:endParaRPr lang="fr-FR"/>
          </a:p>
        </p:txBody>
      </p:sp>
      <p:graphicFrame>
        <p:nvGraphicFramePr>
          <p:cNvPr id="9" name="Espace réservé du contenu 5">
            <a:extLst>
              <a:ext uri="{FF2B5EF4-FFF2-40B4-BE49-F238E27FC236}">
                <a16:creationId xmlns:a16="http://schemas.microsoft.com/office/drawing/2014/main" id="{247860ED-63DC-49AE-8E49-1D628E7F79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7169535"/>
              </p:ext>
            </p:extLst>
          </p:nvPr>
        </p:nvGraphicFramePr>
        <p:xfrm>
          <a:off x="817364" y="1157332"/>
          <a:ext cx="10462312" cy="4869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02508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80729" y="206470"/>
            <a:ext cx="9913237" cy="888445"/>
          </a:xfrm>
        </p:spPr>
        <p:txBody>
          <a:bodyPr anchor="t">
            <a:normAutofit/>
          </a:bodyPr>
          <a:lstStyle/>
          <a:p>
            <a:r>
              <a:rPr lang="fr-FR" sz="2400" dirty="0"/>
              <a:t>Cas d’usage:  Transport de Biens &amp; logistique automatisée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BB2BC55F-2421-48B7-9F95-479F54921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356351"/>
            <a:ext cx="12192000" cy="365125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10769600" y="6293225"/>
            <a:ext cx="44873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B7062C-61A7-F249-A152-93285C121844}" type="slidenum">
              <a:rPr lang="fr-FR" smtClean="0"/>
              <a:pPr>
                <a:spcAft>
                  <a:spcPts val="600"/>
                </a:spcAft>
              </a:pPr>
              <a:t>5</a:t>
            </a:fld>
            <a:endParaRPr lang="fr-FR"/>
          </a:p>
        </p:txBody>
      </p:sp>
      <p:graphicFrame>
        <p:nvGraphicFramePr>
          <p:cNvPr id="9" name="Espace réservé du contenu 5">
            <a:extLst>
              <a:ext uri="{FF2B5EF4-FFF2-40B4-BE49-F238E27FC236}">
                <a16:creationId xmlns:a16="http://schemas.microsoft.com/office/drawing/2014/main" id="{247860ED-63DC-49AE-8E49-1D628E7F79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9861159"/>
              </p:ext>
            </p:extLst>
          </p:nvPr>
        </p:nvGraphicFramePr>
        <p:xfrm>
          <a:off x="817364" y="1805929"/>
          <a:ext cx="10462312" cy="48691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0" name="Groupe 9">
            <a:extLst>
              <a:ext uri="{FF2B5EF4-FFF2-40B4-BE49-F238E27FC236}">
                <a16:creationId xmlns:a16="http://schemas.microsoft.com/office/drawing/2014/main" id="{9C263057-6797-4A33-9DC2-A78835ED8F0D}"/>
              </a:ext>
            </a:extLst>
          </p:cNvPr>
          <p:cNvGrpSpPr/>
          <p:nvPr/>
        </p:nvGrpSpPr>
        <p:grpSpPr>
          <a:xfrm>
            <a:off x="1863885" y="1216152"/>
            <a:ext cx="1016475" cy="680822"/>
            <a:chOff x="72188" y="0"/>
            <a:chExt cx="1277045" cy="1233629"/>
          </a:xfrm>
        </p:grpSpPr>
        <p:sp>
          <p:nvSpPr>
            <p:cNvPr id="16" name="Rectangle : coins arrondis 15">
              <a:extLst>
                <a:ext uri="{FF2B5EF4-FFF2-40B4-BE49-F238E27FC236}">
                  <a16:creationId xmlns:a16="http://schemas.microsoft.com/office/drawing/2014/main" id="{63E04969-3B92-42C7-86D3-5A0063125B2B}"/>
                </a:ext>
              </a:extLst>
            </p:cNvPr>
            <p:cNvSpPr/>
            <p:nvPr/>
          </p:nvSpPr>
          <p:spPr>
            <a:xfrm>
              <a:off x="72188" y="0"/>
              <a:ext cx="1277045" cy="1233629"/>
            </a:xfrm>
            <a:prstGeom prst="roundRect">
              <a:avLst/>
            </a:prstGeom>
            <a:blipFill rotWithShape="0"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3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ectangle : coins arrondis 4">
              <a:extLst>
                <a:ext uri="{FF2B5EF4-FFF2-40B4-BE49-F238E27FC236}">
                  <a16:creationId xmlns:a16="http://schemas.microsoft.com/office/drawing/2014/main" id="{3277293A-B906-4615-AF86-FB705B874F25}"/>
                </a:ext>
              </a:extLst>
            </p:cNvPr>
            <p:cNvSpPr txBox="1"/>
            <p:nvPr/>
          </p:nvSpPr>
          <p:spPr>
            <a:xfrm>
              <a:off x="132409" y="60221"/>
              <a:ext cx="1156603" cy="11131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6220" tIns="118110" rIns="236220" bIns="118110" numCol="1" spcCol="1270" anchor="ctr" anchorCtr="0">
              <a:noAutofit/>
            </a:bodyPr>
            <a:lstStyle/>
            <a:p>
              <a:pPr marL="0" lvl="0" indent="0" algn="ctr" defTabSz="2755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6200" kern="1200" dirty="0"/>
                <a:t> </a:t>
              </a:r>
            </a:p>
          </p:txBody>
        </p:sp>
      </p:grp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68A97E4A-9AF4-4E3B-8F2B-DAD88BDC2321}"/>
              </a:ext>
            </a:extLst>
          </p:cNvPr>
          <p:cNvGrpSpPr/>
          <p:nvPr/>
        </p:nvGrpSpPr>
        <p:grpSpPr>
          <a:xfrm>
            <a:off x="5484909" y="1197864"/>
            <a:ext cx="1025619" cy="731520"/>
            <a:chOff x="0" y="1828986"/>
            <a:chExt cx="1277045" cy="1233629"/>
          </a:xfrm>
        </p:grpSpPr>
        <p:sp>
          <p:nvSpPr>
            <p:cNvPr id="19" name="Rectangle : coins arrondis 18">
              <a:extLst>
                <a:ext uri="{FF2B5EF4-FFF2-40B4-BE49-F238E27FC236}">
                  <a16:creationId xmlns:a16="http://schemas.microsoft.com/office/drawing/2014/main" id="{7537970E-734D-40AC-A33F-96F61461A83E}"/>
                </a:ext>
              </a:extLst>
            </p:cNvPr>
            <p:cNvSpPr/>
            <p:nvPr/>
          </p:nvSpPr>
          <p:spPr>
            <a:xfrm>
              <a:off x="0" y="1828986"/>
              <a:ext cx="1277045" cy="1233629"/>
            </a:xfrm>
            <a:prstGeom prst="roundRect">
              <a:avLst/>
            </a:prstGeom>
            <a:blipFill rotWithShape="0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3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Rectangle : coins arrondis 4">
              <a:extLst>
                <a:ext uri="{FF2B5EF4-FFF2-40B4-BE49-F238E27FC236}">
                  <a16:creationId xmlns:a16="http://schemas.microsoft.com/office/drawing/2014/main" id="{86E63916-D710-4128-B1E0-F7C8A4437EF4}"/>
                </a:ext>
              </a:extLst>
            </p:cNvPr>
            <p:cNvSpPr txBox="1"/>
            <p:nvPr/>
          </p:nvSpPr>
          <p:spPr>
            <a:xfrm>
              <a:off x="60221" y="1889207"/>
              <a:ext cx="1156603" cy="11131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6220" tIns="118110" rIns="236220" bIns="118110" numCol="1" spcCol="1270" anchor="ctr" anchorCtr="0">
              <a:noAutofit/>
            </a:bodyPr>
            <a:lstStyle/>
            <a:p>
              <a:pPr marL="0" lvl="0" indent="0" algn="ctr" defTabSz="2755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6200" kern="1200" dirty="0"/>
                <a:t> </a:t>
              </a:r>
            </a:p>
          </p:txBody>
        </p:sp>
      </p:grp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7A24525A-E704-4389-9503-235A2A93BC19}"/>
              </a:ext>
            </a:extLst>
          </p:cNvPr>
          <p:cNvGrpSpPr/>
          <p:nvPr/>
        </p:nvGrpSpPr>
        <p:grpSpPr>
          <a:xfrm>
            <a:off x="9069357" y="1143000"/>
            <a:ext cx="989043" cy="817983"/>
            <a:chOff x="5519" y="3466961"/>
            <a:chExt cx="1277045" cy="1233629"/>
          </a:xfrm>
        </p:grpSpPr>
        <p:sp>
          <p:nvSpPr>
            <p:cNvPr id="22" name="Rectangle : coins arrondis 21">
              <a:extLst>
                <a:ext uri="{FF2B5EF4-FFF2-40B4-BE49-F238E27FC236}">
                  <a16:creationId xmlns:a16="http://schemas.microsoft.com/office/drawing/2014/main" id="{20ADE7F3-0BB4-4442-A931-0F5366688B25}"/>
                </a:ext>
              </a:extLst>
            </p:cNvPr>
            <p:cNvSpPr/>
            <p:nvPr/>
          </p:nvSpPr>
          <p:spPr>
            <a:xfrm>
              <a:off x="5519" y="3466961"/>
              <a:ext cx="1277045" cy="1233629"/>
            </a:xfrm>
            <a:prstGeom prst="roundRect">
              <a:avLst/>
            </a:prstGeom>
            <a:blipFill rotWithShape="0"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3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ectangle : coins arrondis 4">
              <a:extLst>
                <a:ext uri="{FF2B5EF4-FFF2-40B4-BE49-F238E27FC236}">
                  <a16:creationId xmlns:a16="http://schemas.microsoft.com/office/drawing/2014/main" id="{5FD5FCCB-BEF4-45FA-93A7-2494C08D1E80}"/>
                </a:ext>
              </a:extLst>
            </p:cNvPr>
            <p:cNvSpPr txBox="1"/>
            <p:nvPr/>
          </p:nvSpPr>
          <p:spPr>
            <a:xfrm>
              <a:off x="65740" y="3527182"/>
              <a:ext cx="1156603" cy="11131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36220" tIns="118110" rIns="236220" bIns="118110" numCol="1" spcCol="1270" anchor="ctr" anchorCtr="0">
              <a:noAutofit/>
            </a:bodyPr>
            <a:lstStyle/>
            <a:p>
              <a:pPr marL="0" lvl="0" indent="0" algn="ctr" defTabSz="2755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6200" kern="1200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1825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FCC20C-4577-416E-A9D6-4958E99A9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Feuille de route des cas d’usage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4C44D74-26E4-4D0D-9033-0202C3D27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4326383"/>
            <a:ext cx="12192000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A84F2FD-F687-499B-95BC-F6FA3A734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DB8197-1AE8-477F-94BB-9FDF83AF3F64}" type="slidenum">
              <a:rPr lang="fr-FR" smtClean="0"/>
              <a:t>6</a:t>
            </a:fld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D220181A-5169-4B36-8C3E-BC998620E6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25" t="10436"/>
          <a:stretch/>
        </p:blipFill>
        <p:spPr>
          <a:xfrm>
            <a:off x="941831" y="987551"/>
            <a:ext cx="10382151" cy="550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1887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FCC20C-4577-416E-A9D6-4958E99A9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400" dirty="0"/>
              <a:t>Cadre </a:t>
            </a:r>
            <a:r>
              <a:rPr lang="fr-FR" sz="2400" dirty="0" err="1"/>
              <a:t>rêglementaire</a:t>
            </a:r>
            <a:endParaRPr lang="fr-FR" sz="2400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4C44D74-26E4-4D0D-9033-0202C3D27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A84F2FD-F687-499B-95BC-F6FA3A734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DB8197-1AE8-477F-94BB-9FDF83AF3F64}" type="slidenum">
              <a:rPr lang="fr-FR" smtClean="0"/>
              <a:t>7</a:t>
            </a:fld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960EECB-42CE-4DB7-B491-818A6D0365A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dirty="0">
                <a:solidFill>
                  <a:srgbClr val="FF0000"/>
                </a:solidFill>
              </a:rPr>
              <a:t>Expérimentation  </a:t>
            </a:r>
            <a:r>
              <a:rPr lang="fr-FR" dirty="0"/>
              <a:t>(PACTE) </a:t>
            </a:r>
          </a:p>
          <a:p>
            <a:r>
              <a:rPr lang="fr-FR" dirty="0"/>
              <a:t>Ordonnance (3/8/16) et </a:t>
            </a:r>
            <a:r>
              <a:rPr lang="fr-FR" dirty="0" err="1"/>
              <a:t>arrété</a:t>
            </a:r>
            <a:r>
              <a:rPr lang="fr-FR" dirty="0"/>
              <a:t> (14/4/18; 26/5/21) relative à l’expérimentations de véhicules à délégation de conduite sur les voies publiques</a:t>
            </a:r>
          </a:p>
          <a:p>
            <a:endParaRPr lang="fr-FR" dirty="0"/>
          </a:p>
          <a:p>
            <a:r>
              <a:rPr lang="fr-FR" dirty="0">
                <a:solidFill>
                  <a:srgbClr val="FF0000"/>
                </a:solidFill>
              </a:rPr>
              <a:t>Déploiement </a:t>
            </a:r>
            <a:r>
              <a:rPr lang="fr-FR" dirty="0"/>
              <a:t>(LOM Art 31) </a:t>
            </a:r>
          </a:p>
          <a:p>
            <a:r>
              <a:rPr lang="fr-FR" dirty="0"/>
              <a:t>Ordonnance relatives au VA &amp; aux données des véhicules connectés (14 Avril 21)</a:t>
            </a:r>
          </a:p>
          <a:p>
            <a:r>
              <a:rPr lang="fr-FR" dirty="0"/>
              <a:t>Décret relatif aux conditions d’utilisation du VA &amp; à la démonstration de sécurité des systèmes de Transports Publics Automatisés de personnes (29 Juin 21)</a:t>
            </a:r>
          </a:p>
          <a:p>
            <a:r>
              <a:rPr lang="fr-FR" dirty="0" err="1"/>
              <a:t>Arrétés</a:t>
            </a:r>
            <a:r>
              <a:rPr lang="fr-FR" dirty="0"/>
              <a:t> - Référentiels de sécurité (S2 2022)  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3830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5D244C3-B435-424C-A318-C4C65F98F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369" y="258283"/>
            <a:ext cx="11049000" cy="682251"/>
          </a:xfrm>
        </p:spPr>
        <p:txBody>
          <a:bodyPr>
            <a:normAutofit/>
          </a:bodyPr>
          <a:lstStyle/>
          <a:p>
            <a:pPr algn="ctr"/>
            <a:r>
              <a:rPr lang="fr-FR" sz="2400" dirty="0"/>
              <a:t>France véhicules autonomes : principaux contributeurs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691ED967-7AF8-4B1C-928B-D72CD49AE36C}"/>
              </a:ext>
            </a:extLst>
          </p:cNvPr>
          <p:cNvGrpSpPr/>
          <p:nvPr/>
        </p:nvGrpSpPr>
        <p:grpSpPr>
          <a:xfrm>
            <a:off x="0" y="1145943"/>
            <a:ext cx="6533997" cy="5020941"/>
            <a:chOff x="185780" y="1284166"/>
            <a:chExt cx="7469927" cy="5394833"/>
          </a:xfrm>
        </p:grpSpPr>
        <p:grpSp>
          <p:nvGrpSpPr>
            <p:cNvPr id="6" name="Groupe 5">
              <a:extLst>
                <a:ext uri="{FF2B5EF4-FFF2-40B4-BE49-F238E27FC236}">
                  <a16:creationId xmlns:a16="http://schemas.microsoft.com/office/drawing/2014/main" id="{7A009182-ED4D-7D4A-8D93-AF5A16AE8EC6}"/>
                </a:ext>
              </a:extLst>
            </p:cNvPr>
            <p:cNvGrpSpPr/>
            <p:nvPr/>
          </p:nvGrpSpPr>
          <p:grpSpPr>
            <a:xfrm>
              <a:off x="185780" y="1284166"/>
              <a:ext cx="7469927" cy="5394833"/>
              <a:chOff x="4607990" y="963091"/>
              <a:chExt cx="8128000" cy="5682907"/>
            </a:xfrm>
          </p:grpSpPr>
          <p:graphicFrame>
            <p:nvGraphicFramePr>
              <p:cNvPr id="9" name="Diagramme 8">
                <a:extLst>
                  <a:ext uri="{FF2B5EF4-FFF2-40B4-BE49-F238E27FC236}">
                    <a16:creationId xmlns:a16="http://schemas.microsoft.com/office/drawing/2014/main" id="{47B7B44C-A93F-4DB1-93B1-CEADD7AF65E5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2879878623"/>
                  </p:ext>
                </p:extLst>
              </p:nvPr>
            </p:nvGraphicFramePr>
            <p:xfrm>
              <a:off x="4607990" y="1295497"/>
              <a:ext cx="8128000" cy="5119296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  <p:pic>
            <p:nvPicPr>
              <p:cNvPr id="10" name="Picture 2" descr="Résultat de recherche d'images pour &quot;lohr logo&quot;">
                <a:extLst>
                  <a:ext uri="{FF2B5EF4-FFF2-40B4-BE49-F238E27FC236}">
                    <a16:creationId xmlns:a16="http://schemas.microsoft.com/office/drawing/2014/main" id="{1E428FD5-ADA1-412D-8B1B-D07DEA7462F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701" b="31898"/>
              <a:stretch/>
            </p:blipFill>
            <p:spPr bwMode="auto">
              <a:xfrm>
                <a:off x="5953528" y="6112715"/>
                <a:ext cx="1127606" cy="3631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Image 10">
                <a:extLst>
                  <a:ext uri="{FF2B5EF4-FFF2-40B4-BE49-F238E27FC236}">
                    <a16:creationId xmlns:a16="http://schemas.microsoft.com/office/drawing/2014/main" id="{79C8E883-D3B0-4AF5-AC2A-FC36EB977B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491457" y="5272182"/>
                <a:ext cx="904877" cy="280418"/>
              </a:xfrm>
              <a:prstGeom prst="rect">
                <a:avLst/>
              </a:prstGeom>
            </p:spPr>
          </p:pic>
          <p:pic>
            <p:nvPicPr>
              <p:cNvPr id="12" name="Picture 14" descr="Résultat de recherche d'images pour &quot;alstom logo&quot;">
                <a:extLst>
                  <a:ext uri="{FF2B5EF4-FFF2-40B4-BE49-F238E27FC236}">
                    <a16:creationId xmlns:a16="http://schemas.microsoft.com/office/drawing/2014/main" id="{EF1301D5-9761-469A-BEA1-123C0F3D0C6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06614" y="4337921"/>
                <a:ext cx="904876" cy="2462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" name="Picture 16" descr="Résultat de recherche d'images pour &quot;easymile logo&quot;">
                <a:extLst>
                  <a:ext uri="{FF2B5EF4-FFF2-40B4-BE49-F238E27FC236}">
                    <a16:creationId xmlns:a16="http://schemas.microsoft.com/office/drawing/2014/main" id="{7F747D25-C47C-4278-BDF6-E3109859FA8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7682" b="20072"/>
              <a:stretch/>
            </p:blipFill>
            <p:spPr bwMode="auto">
              <a:xfrm>
                <a:off x="5365254" y="5006530"/>
                <a:ext cx="797039" cy="3119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Image 15">
                <a:extLst>
                  <a:ext uri="{FF2B5EF4-FFF2-40B4-BE49-F238E27FC236}">
                    <a16:creationId xmlns:a16="http://schemas.microsoft.com/office/drawing/2014/main" id="{5015E959-61EE-4825-A5FE-34E60FA370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864774" y="5872004"/>
                <a:ext cx="726495" cy="447638"/>
              </a:xfrm>
              <a:prstGeom prst="rect">
                <a:avLst/>
              </a:prstGeom>
            </p:spPr>
          </p:pic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D59A0F02-502D-44D4-91CE-E7960060DD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/>
              <a:srcRect b="60141"/>
              <a:stretch/>
            </p:blipFill>
            <p:spPr>
              <a:xfrm>
                <a:off x="5064190" y="2869690"/>
                <a:ext cx="973424" cy="349196"/>
              </a:xfrm>
              <a:prstGeom prst="rect">
                <a:avLst/>
              </a:prstGeom>
            </p:spPr>
          </p:pic>
          <p:pic>
            <p:nvPicPr>
              <p:cNvPr id="18" name="Image 17">
                <a:extLst>
                  <a:ext uri="{FF2B5EF4-FFF2-40B4-BE49-F238E27FC236}">
                    <a16:creationId xmlns:a16="http://schemas.microsoft.com/office/drawing/2014/main" id="{E9957EF7-B58D-4D12-9A23-76EB137847C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757136" y="2515287"/>
                <a:ext cx="713904" cy="494242"/>
              </a:xfrm>
              <a:prstGeom prst="rect">
                <a:avLst/>
              </a:prstGeom>
            </p:spPr>
          </p:pic>
          <p:pic>
            <p:nvPicPr>
              <p:cNvPr id="19" name="Image 18">
                <a:extLst>
                  <a:ext uri="{FF2B5EF4-FFF2-40B4-BE49-F238E27FC236}">
                    <a16:creationId xmlns:a16="http://schemas.microsoft.com/office/drawing/2014/main" id="{EAEE55F3-BB7E-494B-AE54-CD1058ADC8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340811" y="3870224"/>
                <a:ext cx="755900" cy="501282"/>
              </a:xfrm>
              <a:prstGeom prst="rect">
                <a:avLst/>
              </a:prstGeom>
            </p:spPr>
          </p:pic>
          <p:pic>
            <p:nvPicPr>
              <p:cNvPr id="20" name="Image 19">
                <a:extLst>
                  <a:ext uri="{FF2B5EF4-FFF2-40B4-BE49-F238E27FC236}">
                    <a16:creationId xmlns:a16="http://schemas.microsoft.com/office/drawing/2014/main" id="{6A9EE03E-04A0-4284-839F-439E3F1925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981797" y="3587988"/>
                <a:ext cx="890536" cy="370400"/>
              </a:xfrm>
              <a:prstGeom prst="rect">
                <a:avLst/>
              </a:prstGeom>
            </p:spPr>
          </p:pic>
          <p:pic>
            <p:nvPicPr>
              <p:cNvPr id="22" name="Image 21">
                <a:extLst>
                  <a:ext uri="{FF2B5EF4-FFF2-40B4-BE49-F238E27FC236}">
                    <a16:creationId xmlns:a16="http://schemas.microsoft.com/office/drawing/2014/main" id="{E5D7176A-8A09-4051-A24C-F3F1A6D12CF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/>
              <a:srcRect t="4546" r="14724" b="24242"/>
              <a:stretch/>
            </p:blipFill>
            <p:spPr>
              <a:xfrm>
                <a:off x="4673670" y="3140808"/>
                <a:ext cx="1177778" cy="447675"/>
              </a:xfrm>
              <a:prstGeom prst="rect">
                <a:avLst/>
              </a:prstGeom>
            </p:spPr>
          </p:pic>
          <p:pic>
            <p:nvPicPr>
              <p:cNvPr id="23" name="Image 22">
                <a:extLst>
                  <a:ext uri="{FF2B5EF4-FFF2-40B4-BE49-F238E27FC236}">
                    <a16:creationId xmlns:a16="http://schemas.microsoft.com/office/drawing/2014/main" id="{AE7B6F36-ED5F-458D-A17F-F9DC55E2EE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9374487" y="1668494"/>
                <a:ext cx="675234" cy="546295"/>
              </a:xfrm>
              <a:prstGeom prst="rect">
                <a:avLst/>
              </a:prstGeom>
            </p:spPr>
          </p:pic>
          <p:pic>
            <p:nvPicPr>
              <p:cNvPr id="24" name="Picture 10" descr="Résultat de recherche d'images pour &quot;moveo logo&quot;">
                <a:extLst>
                  <a:ext uri="{FF2B5EF4-FFF2-40B4-BE49-F238E27FC236}">
                    <a16:creationId xmlns:a16="http://schemas.microsoft.com/office/drawing/2014/main" id="{2F3839F5-729D-4A69-AECC-C593348248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68703" y="1500027"/>
                <a:ext cx="813645" cy="2319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5" name="Image 24">
                <a:extLst>
                  <a:ext uri="{FF2B5EF4-FFF2-40B4-BE49-F238E27FC236}">
                    <a16:creationId xmlns:a16="http://schemas.microsoft.com/office/drawing/2014/main" id="{2FDE4C5F-0BBC-486A-A083-6F614C4793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9483767" y="2601278"/>
                <a:ext cx="482754" cy="329686"/>
              </a:xfrm>
              <a:prstGeom prst="rect">
                <a:avLst/>
              </a:prstGeom>
            </p:spPr>
          </p:pic>
          <p:pic>
            <p:nvPicPr>
              <p:cNvPr id="26" name="Image 25">
                <a:extLst>
                  <a:ext uri="{FF2B5EF4-FFF2-40B4-BE49-F238E27FC236}">
                    <a16:creationId xmlns:a16="http://schemas.microsoft.com/office/drawing/2014/main" id="{0452A4F5-7408-4D2A-8A5B-D0D3B2CB9FE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1"/>
              <a:srcRect t="21093" b="15036"/>
              <a:stretch/>
            </p:blipFill>
            <p:spPr>
              <a:xfrm>
                <a:off x="8106723" y="1419677"/>
                <a:ext cx="996180" cy="403387"/>
              </a:xfrm>
              <a:prstGeom prst="rect">
                <a:avLst/>
              </a:prstGeom>
            </p:spPr>
          </p:pic>
          <p:pic>
            <p:nvPicPr>
              <p:cNvPr id="27" name="Image 26">
                <a:extLst>
                  <a:ext uri="{FF2B5EF4-FFF2-40B4-BE49-F238E27FC236}">
                    <a16:creationId xmlns:a16="http://schemas.microsoft.com/office/drawing/2014/main" id="{7D857913-C1BB-4BF8-BE3D-B2B7F54AAA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2"/>
              <a:srcRect t="-30225" r="-30225"/>
              <a:stretch/>
            </p:blipFill>
            <p:spPr>
              <a:xfrm>
                <a:off x="7071659" y="1893305"/>
                <a:ext cx="982790" cy="523202"/>
              </a:xfrm>
              <a:prstGeom prst="rect">
                <a:avLst/>
              </a:prstGeom>
            </p:spPr>
          </p:pic>
          <p:pic>
            <p:nvPicPr>
              <p:cNvPr id="28" name="Image 27">
                <a:extLst>
                  <a:ext uri="{FF2B5EF4-FFF2-40B4-BE49-F238E27FC236}">
                    <a16:creationId xmlns:a16="http://schemas.microsoft.com/office/drawing/2014/main" id="{06EE01C3-15DC-4397-97FB-287C19C262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7089998" y="1517602"/>
                <a:ext cx="889706" cy="527792"/>
              </a:xfrm>
              <a:prstGeom prst="rect">
                <a:avLst/>
              </a:prstGeom>
            </p:spPr>
          </p:pic>
          <p:pic>
            <p:nvPicPr>
              <p:cNvPr id="29" name="Image 28">
                <a:extLst>
                  <a:ext uri="{FF2B5EF4-FFF2-40B4-BE49-F238E27FC236}">
                    <a16:creationId xmlns:a16="http://schemas.microsoft.com/office/drawing/2014/main" id="{B7F24AC4-CFA7-4BD7-9CD7-4CCA39F5E6C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4"/>
              <a:srcRect t="25877" b="14372"/>
              <a:stretch/>
            </p:blipFill>
            <p:spPr>
              <a:xfrm>
                <a:off x="6933106" y="1233447"/>
                <a:ext cx="1225851" cy="297950"/>
              </a:xfrm>
              <a:prstGeom prst="rect">
                <a:avLst/>
              </a:prstGeom>
            </p:spPr>
          </p:pic>
          <p:pic>
            <p:nvPicPr>
              <p:cNvPr id="30" name="Image 29">
                <a:extLst>
                  <a:ext uri="{FF2B5EF4-FFF2-40B4-BE49-F238E27FC236}">
                    <a16:creationId xmlns:a16="http://schemas.microsoft.com/office/drawing/2014/main" id="{9E9C8ED1-9980-4987-84F4-ED0AB72D42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9463773" y="2197423"/>
                <a:ext cx="613047" cy="365073"/>
              </a:xfrm>
              <a:prstGeom prst="rect">
                <a:avLst/>
              </a:prstGeom>
            </p:spPr>
          </p:pic>
          <p:pic>
            <p:nvPicPr>
              <p:cNvPr id="31" name="Picture 4" descr="Résultat de recherche d'images pour &quot;la poste logo&quot;">
                <a:extLst>
                  <a:ext uri="{FF2B5EF4-FFF2-40B4-BE49-F238E27FC236}">
                    <a16:creationId xmlns:a16="http://schemas.microsoft.com/office/drawing/2014/main" id="{8934BDB0-8F3E-4CC9-B773-05F53E4493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26036" y="6032280"/>
                <a:ext cx="756818" cy="53572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6" descr="Résultat de recherche d'images pour &quot;twinswheel logo&quot;">
                <a:extLst>
                  <a:ext uri="{FF2B5EF4-FFF2-40B4-BE49-F238E27FC236}">
                    <a16:creationId xmlns:a16="http://schemas.microsoft.com/office/drawing/2014/main" id="{6C8FE5FA-8490-4442-86CB-3F2B56F0B5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3896" y="5459959"/>
                <a:ext cx="892279" cy="3624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3" name="Picture 8" descr="Résultat de recherche d'images pour &quot;fntr logo&quot;">
                <a:extLst>
                  <a:ext uri="{FF2B5EF4-FFF2-40B4-BE49-F238E27FC236}">
                    <a16:creationId xmlns:a16="http://schemas.microsoft.com/office/drawing/2014/main" id="{5B812C54-7AC2-4932-96EB-E4C89ED731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59690" y="4786613"/>
                <a:ext cx="373875" cy="3738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Picture 12" descr="Résultat de recherche d'images pour &quot;pfa logo&quot;">
                <a:extLst>
                  <a:ext uri="{FF2B5EF4-FFF2-40B4-BE49-F238E27FC236}">
                    <a16:creationId xmlns:a16="http://schemas.microsoft.com/office/drawing/2014/main" id="{2923820B-4973-4A21-A00F-FD898D079E7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56271" y="4097925"/>
                <a:ext cx="667264" cy="3736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460" name="Picture 4" descr="Résultat de recherche d'images pour &quot;cerema&quot;">
                <a:extLst>
                  <a:ext uri="{FF2B5EF4-FFF2-40B4-BE49-F238E27FC236}">
                    <a16:creationId xmlns:a16="http://schemas.microsoft.com/office/drawing/2014/main" id="{E263C2A8-7EBC-419D-9C35-2BFCCE8F85E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701" t="33282" r="8128" b="40846"/>
              <a:stretch/>
            </p:blipFill>
            <p:spPr bwMode="auto">
              <a:xfrm>
                <a:off x="9050511" y="1215203"/>
                <a:ext cx="1040095" cy="2453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" name="Image 3"/>
              <p:cNvPicPr>
                <a:picLocks noChangeAspect="1"/>
              </p:cNvPicPr>
              <p:nvPr/>
            </p:nvPicPr>
            <p:blipFill rotWithShape="1">
              <a:blip r:embed="rId31"/>
              <a:srcRect l="18901" t="29830" b="31369"/>
              <a:stretch/>
            </p:blipFill>
            <p:spPr>
              <a:xfrm>
                <a:off x="9097154" y="963091"/>
                <a:ext cx="1206929" cy="323372"/>
              </a:xfrm>
              <a:prstGeom prst="rect">
                <a:avLst/>
              </a:prstGeom>
            </p:spPr>
          </p:pic>
          <p:pic>
            <p:nvPicPr>
              <p:cNvPr id="5" name="Image 4"/>
              <p:cNvPicPr>
                <a:picLocks noChangeAspect="1"/>
              </p:cNvPicPr>
              <p:nvPr/>
            </p:nvPicPr>
            <p:blipFill rotWithShape="1">
              <a:blip r:embed="rId32"/>
              <a:srcRect b="16568"/>
              <a:stretch/>
            </p:blipFill>
            <p:spPr>
              <a:xfrm>
                <a:off x="6962815" y="6195909"/>
                <a:ext cx="1690605" cy="450089"/>
              </a:xfrm>
              <a:prstGeom prst="rect">
                <a:avLst/>
              </a:prstGeom>
            </p:spPr>
          </p:pic>
          <p:pic>
            <p:nvPicPr>
              <p:cNvPr id="7" name="Image 6"/>
              <p:cNvPicPr>
                <a:picLocks noChangeAspect="1"/>
              </p:cNvPicPr>
              <p:nvPr/>
            </p:nvPicPr>
            <p:blipFill>
              <a:blip r:embed="rId33"/>
              <a:stretch>
                <a:fillRect/>
              </a:stretch>
            </p:blipFill>
            <p:spPr>
              <a:xfrm>
                <a:off x="11273802" y="2737251"/>
                <a:ext cx="946286" cy="373107"/>
              </a:xfrm>
              <a:prstGeom prst="rect">
                <a:avLst/>
              </a:prstGeom>
            </p:spPr>
          </p:pic>
          <p:pic>
            <p:nvPicPr>
              <p:cNvPr id="2050" name="Picture 2" descr="Newsroom Renault Group : Communiqués, articles, photos, vidéos">
                <a:extLst>
                  <a:ext uri="{FF2B5EF4-FFF2-40B4-BE49-F238E27FC236}">
                    <a16:creationId xmlns:a16="http://schemas.microsoft.com/office/drawing/2014/main" id="{EB288899-46BE-4946-9512-6C560B21A5A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26" b="21996"/>
              <a:stretch/>
            </p:blipFill>
            <p:spPr bwMode="auto">
              <a:xfrm>
                <a:off x="8097822" y="5887837"/>
                <a:ext cx="756820" cy="37366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2" name="Picture 4" descr="Milla Group – Le Groupe MILLA développe et commercialise un POD électrique  autonome.">
                <a:extLst>
                  <a:ext uri="{FF2B5EF4-FFF2-40B4-BE49-F238E27FC236}">
                    <a16:creationId xmlns:a16="http://schemas.microsoft.com/office/drawing/2014/main" id="{63176CD3-F794-4B8C-90CD-26A55E5863C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96232" y="5768378"/>
                <a:ext cx="1255517" cy="32382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4" name="Picture 6" descr="DB Schenker en France">
                <a:extLst>
                  <a:ext uri="{FF2B5EF4-FFF2-40B4-BE49-F238E27FC236}">
                    <a16:creationId xmlns:a16="http://schemas.microsoft.com/office/drawing/2014/main" id="{E6A32995-57F5-472D-A1FB-A82AE7D063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479" t="38615" r="479" b="36434"/>
              <a:stretch/>
            </p:blipFill>
            <p:spPr bwMode="auto">
              <a:xfrm>
                <a:off x="10538674" y="5190975"/>
                <a:ext cx="1237237" cy="3087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6" name="Picture 8">
                <a:extLst>
                  <a:ext uri="{FF2B5EF4-FFF2-40B4-BE49-F238E27FC236}">
                    <a16:creationId xmlns:a16="http://schemas.microsoft.com/office/drawing/2014/main" id="{685F2650-B3E9-4904-BEF0-8BFAA0D56CB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92466" y="5447158"/>
                <a:ext cx="865063" cy="1969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8" name="Picture 10" descr="SOTRADEL obtient le renouvellement de sa Certification MASE avec les  félicitations du jury - Sotradel">
                <a:extLst>
                  <a:ext uri="{FF2B5EF4-FFF2-40B4-BE49-F238E27FC236}">
                    <a16:creationId xmlns:a16="http://schemas.microsoft.com/office/drawing/2014/main" id="{520612BF-C2E0-4D49-89DC-8BD3D39E74C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71919" y="5763803"/>
                <a:ext cx="970750" cy="23839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29967ED-C2E7-448E-B42E-EA0DC4C204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860" y="2687646"/>
              <a:ext cx="391352" cy="393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40" name="Diagramme 39">
            <a:extLst>
              <a:ext uri="{FF2B5EF4-FFF2-40B4-BE49-F238E27FC236}">
                <a16:creationId xmlns:a16="http://schemas.microsoft.com/office/drawing/2014/main" id="{FC8A010E-AA51-49DA-8A74-75251F9A76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76379302"/>
              </p:ext>
            </p:extLst>
          </p:nvPr>
        </p:nvGraphicFramePr>
        <p:xfrm>
          <a:off x="6363297" y="3127510"/>
          <a:ext cx="5743642" cy="3730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0" r:lo="rId41" r:qs="rId42" r:cs="rId43"/>
          </a:graphicData>
        </a:graphic>
      </p:graphicFrame>
      <p:graphicFrame>
        <p:nvGraphicFramePr>
          <p:cNvPr id="38" name="Diagramme 37">
            <a:extLst>
              <a:ext uri="{FF2B5EF4-FFF2-40B4-BE49-F238E27FC236}">
                <a16:creationId xmlns:a16="http://schemas.microsoft.com/office/drawing/2014/main" id="{53E619ED-5743-4352-84A8-7614133BE3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3888588"/>
              </p:ext>
            </p:extLst>
          </p:nvPr>
        </p:nvGraphicFramePr>
        <p:xfrm>
          <a:off x="5721799" y="0"/>
          <a:ext cx="6743103" cy="4304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5" r:lo="rId46" r:qs="rId47" r:cs="rId48"/>
          </a:graphicData>
        </a:graphic>
      </p:graphicFrame>
    </p:spTree>
    <p:extLst>
      <p:ext uri="{BB962C8B-B14F-4D97-AF65-F5344CB8AC3E}">
        <p14:creationId xmlns:p14="http://schemas.microsoft.com/office/powerpoint/2010/main" val="23925287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>
            <a:extLst>
              <a:ext uri="{FF2B5EF4-FFF2-40B4-BE49-F238E27FC236}">
                <a16:creationId xmlns:a16="http://schemas.microsoft.com/office/drawing/2014/main" id="{FB3BCB15-0708-4B3F-92EF-A890907F3166}"/>
              </a:ext>
            </a:extLst>
          </p:cNvPr>
          <p:cNvSpPr txBox="1">
            <a:spLocks/>
          </p:cNvSpPr>
          <p:nvPr/>
        </p:nvSpPr>
        <p:spPr>
          <a:xfrm>
            <a:off x="544584" y="0"/>
            <a:ext cx="11017770" cy="1143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800" b="0" i="0" kern="1200" spc="100">
                <a:solidFill>
                  <a:srgbClr val="E4173F"/>
                </a:solidFill>
                <a:latin typeface="Roboto Condensed Light"/>
                <a:ea typeface="+mj-ea"/>
                <a:cs typeface="Roboto Condensed Light"/>
              </a:defRPr>
            </a:lvl1pPr>
          </a:lstStyle>
          <a:p>
            <a:r>
              <a:rPr lang="fr-FR" sz="2400" dirty="0">
                <a:solidFill>
                  <a:srgbClr val="312782"/>
                </a:solidFill>
                <a:latin typeface="Arial Black"/>
              </a:rPr>
              <a:t>SAM, la production d’un bien commun</a:t>
            </a:r>
          </a:p>
        </p:txBody>
      </p:sp>
      <p:pic>
        <p:nvPicPr>
          <p:cNvPr id="32" name="Image 31" descr="logo -sam_Plan de travail 1.png">
            <a:extLst>
              <a:ext uri="{FF2B5EF4-FFF2-40B4-BE49-F238E27FC236}">
                <a16:creationId xmlns:a16="http://schemas.microsoft.com/office/drawing/2014/main" id="{B9FB7BB5-1871-4070-BD7D-B347D3AD7B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9069"/>
            <a:ext cx="2030779" cy="66229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E75EBFF-DE34-450B-80C0-97280853F12F}"/>
              </a:ext>
            </a:extLst>
          </p:cNvPr>
          <p:cNvSpPr/>
          <p:nvPr/>
        </p:nvSpPr>
        <p:spPr>
          <a:xfrm>
            <a:off x="-1477926" y="3179135"/>
            <a:ext cx="85061" cy="457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63770CAE-F39A-4524-9EA3-BA2A5E334E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910" y="999236"/>
            <a:ext cx="11876037" cy="5858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17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5acXjzUk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2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13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4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7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_Présentation typ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2_Présentation type">
  <a:themeElements>
    <a:clrScheme name="PF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1338D"/>
      </a:accent1>
      <a:accent2>
        <a:srgbClr val="F53A3C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Normal.potx" id="{62466BB0-13DA-437B-8DE7-97FD25D2A341}" vid="{8811DD9E-8123-46B5-828A-C04C9662DDCB}"/>
    </a:ext>
  </a:extLst>
</a:theme>
</file>

<file path=ppt/theme/theme1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8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0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Feuille de rou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Présentation type">
  <a:themeElements>
    <a:clrScheme name="PF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31338D"/>
      </a:accent1>
      <a:accent2>
        <a:srgbClr val="F53A3C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_Feuille de rou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9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38A51CC4A4744D842AB7EC7FC14CE2" ma:contentTypeVersion="2" ma:contentTypeDescription="Create a new document." ma:contentTypeScope="" ma:versionID="29db06e836669f2121c8b2d7469760b4">
  <xsd:schema xmlns:xsd="http://www.w3.org/2001/XMLSchema" xmlns:xs="http://www.w3.org/2001/XMLSchema" xmlns:p="http://schemas.microsoft.com/office/2006/metadata/properties" xmlns:ns2="d4d01715-045c-46e1-9dfd-2dfa6cb68599" targetNamespace="http://schemas.microsoft.com/office/2006/metadata/properties" ma:root="true" ma:fieldsID="15608f663c767e516ea1b9120bf8dc53" ns2:_="">
    <xsd:import namespace="d4d01715-045c-46e1-9dfd-2dfa6cb685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d01715-045c-46e1-9dfd-2dfa6cb685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1C1E72-04F8-4106-BC7C-37C131A288E2}">
  <ds:schemaRefs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d4d01715-045c-46e1-9dfd-2dfa6cb68599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BCCD896-4D3B-4066-B938-6A37DE4816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d01715-045c-46e1-9dfd-2dfa6cb685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25588C0-944E-4078-8F5F-2C6E619B899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975</TotalTime>
  <Words>1046</Words>
  <Application>Microsoft Macintosh PowerPoint</Application>
  <PresentationFormat>Grand écran</PresentationFormat>
  <Paragraphs>235</Paragraphs>
  <Slides>16</Slides>
  <Notes>16</Notes>
  <HiddenSlides>0</HiddenSlides>
  <MMClips>0</MMClips>
  <ScaleCrop>false</ScaleCrop>
  <HeadingPairs>
    <vt:vector size="8" baseType="variant">
      <vt:variant>
        <vt:lpstr>Polices utilisées</vt:lpstr>
      </vt:variant>
      <vt:variant>
        <vt:i4>19</vt:i4>
      </vt:variant>
      <vt:variant>
        <vt:lpstr>Thème</vt:lpstr>
      </vt:variant>
      <vt:variant>
        <vt:i4>1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52" baseType="lpstr">
      <vt:lpstr>Arial</vt:lpstr>
      <vt:lpstr>Arial Black</vt:lpstr>
      <vt:lpstr>Arial Narrow</vt:lpstr>
      <vt:lpstr>Arial Narrow Bold</vt:lpstr>
      <vt:lpstr>Arial Narrow Italic</vt:lpstr>
      <vt:lpstr>Calibri</vt:lpstr>
      <vt:lpstr>Courier New</vt:lpstr>
      <vt:lpstr>Georgia</vt:lpstr>
      <vt:lpstr>Lucida Grande</vt:lpstr>
      <vt:lpstr>Segoe UI</vt:lpstr>
      <vt:lpstr>Segoe UI Black</vt:lpstr>
      <vt:lpstr>Segoe UI Semilight</vt:lpstr>
      <vt:lpstr>Source Sans Pro</vt:lpstr>
      <vt:lpstr>Source Sans Pro Light</vt:lpstr>
      <vt:lpstr>Times New Roman</vt:lpstr>
      <vt:lpstr>Trebuchet MS</vt:lpstr>
      <vt:lpstr>Univers Condensed</vt:lpstr>
      <vt:lpstr>Univers Condensed Light</vt:lpstr>
      <vt:lpstr>Wingdings</vt:lpstr>
      <vt:lpstr>Thème Office</vt:lpstr>
      <vt:lpstr>8_Thème Office</vt:lpstr>
      <vt:lpstr>10_Thème Office</vt:lpstr>
      <vt:lpstr>11_Thème Office</vt:lpstr>
      <vt:lpstr>5_Thème Office</vt:lpstr>
      <vt:lpstr>Feuille de route</vt:lpstr>
      <vt:lpstr>Présentation type</vt:lpstr>
      <vt:lpstr>1_Feuille de route</vt:lpstr>
      <vt:lpstr>9_Thème Office</vt:lpstr>
      <vt:lpstr>12_Thème Office</vt:lpstr>
      <vt:lpstr>13_Thème Office</vt:lpstr>
      <vt:lpstr>14_Thème Office</vt:lpstr>
      <vt:lpstr>7_Thème Office</vt:lpstr>
      <vt:lpstr>1_Présentation type</vt:lpstr>
      <vt:lpstr>2_Présentation type</vt:lpstr>
      <vt:lpstr>White</vt:lpstr>
      <vt:lpstr>think-cell Slide</vt:lpstr>
      <vt:lpstr>Le VA, une priorité politique nationale depuis 2018</vt:lpstr>
      <vt:lpstr>Une stratégie nationale affichée</vt:lpstr>
      <vt:lpstr>Présentation PowerPoint</vt:lpstr>
      <vt:lpstr>Cas d’usage:  Transport de personnes</vt:lpstr>
      <vt:lpstr>Cas d’usage:  Transport de Biens &amp; logistique automatisée</vt:lpstr>
      <vt:lpstr>Feuille de route des cas d’usage</vt:lpstr>
      <vt:lpstr>Cadre rêglementaire</vt:lpstr>
      <vt:lpstr>France véhicules autonomes : principaux contributeurs</vt:lpstr>
      <vt:lpstr>Présentation PowerPoint</vt:lpstr>
      <vt:lpstr>Présentation PowerPoint</vt:lpstr>
      <vt:lpstr>SAM, un projet national d’expérimentations des cas d’usage du transport de personnes et de biens   </vt:lpstr>
      <vt:lpstr>Les expérimentations avancent malgré la crise COVID</vt:lpstr>
      <vt:lpstr>Présentation PowerPoint</vt:lpstr>
      <vt:lpstr>Présentation PowerPoint</vt:lpstr>
      <vt:lpstr>Présentation PowerPoint</vt:lpstr>
      <vt:lpstr>Présentation PowerPoint</vt:lpstr>
    </vt:vector>
  </TitlesOfParts>
  <Company>BO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herve.gros@sia.fr</dc:creator>
  <cp:lastModifiedBy>Anne MATTIOLI</cp:lastModifiedBy>
  <cp:revision>10</cp:revision>
  <cp:lastPrinted>2022-01-20T14:21:10Z</cp:lastPrinted>
  <dcterms:created xsi:type="dcterms:W3CDTF">2015-06-01T12:05:23Z</dcterms:created>
  <dcterms:modified xsi:type="dcterms:W3CDTF">2022-01-21T07:2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38A51CC4A4744D842AB7EC7FC14CE2</vt:lpwstr>
  </property>
  <property fmtid="{D5CDD505-2E9C-101B-9397-08002B2CF9AE}" pid="3" name="MSIP_Label_2fd53d93-3f4c-4b90-b511-bd6bdbb4fba9_Enabled">
    <vt:lpwstr>true</vt:lpwstr>
  </property>
  <property fmtid="{D5CDD505-2E9C-101B-9397-08002B2CF9AE}" pid="4" name="MSIP_Label_2fd53d93-3f4c-4b90-b511-bd6bdbb4fba9_ContentBits">
    <vt:lpwstr>0</vt:lpwstr>
  </property>
  <property fmtid="{D5CDD505-2E9C-101B-9397-08002B2CF9AE}" pid="5" name="MSIP_Label_2fd53d93-3f4c-4b90-b511-bd6bdbb4fba9_SetDate">
    <vt:lpwstr>2021-05-21T11:26:05Z</vt:lpwstr>
  </property>
  <property fmtid="{D5CDD505-2E9C-101B-9397-08002B2CF9AE}" pid="6" name="MSIP_Label_2fd53d93-3f4c-4b90-b511-bd6bdbb4fba9_ActionId">
    <vt:lpwstr>5d8c2161-ecd4-489e-976b-8ba723d9b06a</vt:lpwstr>
  </property>
  <property fmtid="{D5CDD505-2E9C-101B-9397-08002B2CF9AE}" pid="7" name="MSIP_Label_2fd53d93-3f4c-4b90-b511-bd6bdbb4fba9_Name">
    <vt:lpwstr>2fd53d93-3f4c-4b90-b511-bd6bdbb4fba9</vt:lpwstr>
  </property>
  <property fmtid="{D5CDD505-2E9C-101B-9397-08002B2CF9AE}" pid="8" name="MSIP_Label_2fd53d93-3f4c-4b90-b511-bd6bdbb4fba9_SiteId">
    <vt:lpwstr>d852d5cd-724c-4128-8812-ffa5db3f8507</vt:lpwstr>
  </property>
  <property fmtid="{D5CDD505-2E9C-101B-9397-08002B2CF9AE}" pid="9" name="MSIP_Label_2fd53d93-3f4c-4b90-b511-bd6bdbb4fba9_Method">
    <vt:lpwstr>Standard</vt:lpwstr>
  </property>
  <property fmtid="{D5CDD505-2E9C-101B-9397-08002B2CF9AE}" pid="10" name="docIndexRef">
    <vt:lpwstr>7b471321-335c-4fbc-89b7-db835667c230</vt:lpwstr>
  </property>
  <property fmtid="{D5CDD505-2E9C-101B-9397-08002B2CF9AE}" pid="11" name="bjSaver">
    <vt:lpwstr>lAnaVPToJjzMiFGSqf6YpAxl8lKW92sO</vt:lpwstr>
  </property>
  <property fmtid="{D5CDD505-2E9C-101B-9397-08002B2CF9AE}" pid="12" name="bjDocumentLabelXML">
    <vt:lpwstr>&lt;?xml version="1.0" encoding="us-ascii"?&gt;&lt;sisl xmlns:xsi="http://www.w3.org/2001/XMLSchema-instance" xmlns:xsd="http://www.w3.org/2001/XMLSchema" sislVersion="0" policy="2152ec2e-c0c1-4834-9aa1-dc782ab0e2aa" origin="userSelected" xmlns="http://www.boldonj</vt:lpwstr>
  </property>
  <property fmtid="{D5CDD505-2E9C-101B-9397-08002B2CF9AE}" pid="13" name="bjDocumentLabelXML-0">
    <vt:lpwstr>ames.com/2008/01/sie/internal/label"&gt;&lt;element uid="67e66f8d-4e76-4fdc-a7a1-b421fe54f86a" value="" /&gt;&lt;/sisl&gt;</vt:lpwstr>
  </property>
  <property fmtid="{D5CDD505-2E9C-101B-9397-08002B2CF9AE}" pid="14" name="bjDocumentSecurityLabel">
    <vt:lpwstr>N O N - S E N S I T I V E      </vt:lpwstr>
  </property>
  <property fmtid="{D5CDD505-2E9C-101B-9397-08002B2CF9AE}" pid="15" name="bjSlideMasterFooterText">
    <vt:lpwstr> </vt:lpwstr>
  </property>
  <property fmtid="{D5CDD505-2E9C-101B-9397-08002B2CF9AE}" pid="16" name="MSIP_Label_fd1c0902-ed92-4fed-896d-2e7725de02d4_Enabled">
    <vt:lpwstr>true</vt:lpwstr>
  </property>
  <property fmtid="{D5CDD505-2E9C-101B-9397-08002B2CF9AE}" pid="17" name="MSIP_Label_fd1c0902-ed92-4fed-896d-2e7725de02d4_SetDate">
    <vt:lpwstr>2022-01-20T20:52:59Z</vt:lpwstr>
  </property>
  <property fmtid="{D5CDD505-2E9C-101B-9397-08002B2CF9AE}" pid="18" name="MSIP_Label_fd1c0902-ed92-4fed-896d-2e7725de02d4_Method">
    <vt:lpwstr>Standard</vt:lpwstr>
  </property>
  <property fmtid="{D5CDD505-2E9C-101B-9397-08002B2CF9AE}" pid="19" name="MSIP_Label_fd1c0902-ed92-4fed-896d-2e7725de02d4_Name">
    <vt:lpwstr>Anyone (not protected)</vt:lpwstr>
  </property>
  <property fmtid="{D5CDD505-2E9C-101B-9397-08002B2CF9AE}" pid="20" name="MSIP_Label_fd1c0902-ed92-4fed-896d-2e7725de02d4_SiteId">
    <vt:lpwstr>d6b0bbee-7cd9-4d60-bce6-4a67b543e2ae</vt:lpwstr>
  </property>
  <property fmtid="{D5CDD505-2E9C-101B-9397-08002B2CF9AE}" pid="21" name="MSIP_Label_fd1c0902-ed92-4fed-896d-2e7725de02d4_ActionId">
    <vt:lpwstr>25db3c15-ec12-4fd1-a86d-1fc7eb32e67b</vt:lpwstr>
  </property>
  <property fmtid="{D5CDD505-2E9C-101B-9397-08002B2CF9AE}" pid="22" name="MSIP_Label_fd1c0902-ed92-4fed-896d-2e7725de02d4_ContentBits">
    <vt:lpwstr>2</vt:lpwstr>
  </property>
</Properties>
</file>